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91" r:id="rId3"/>
    <p:sldMasterId id="2147483703" r:id="rId4"/>
  </p:sldMasterIdLst>
  <p:notesMasterIdLst>
    <p:notesMasterId r:id="rId17"/>
  </p:notesMasterIdLst>
  <p:sldIdLst>
    <p:sldId id="1477" r:id="rId5"/>
    <p:sldId id="9393" r:id="rId6"/>
    <p:sldId id="256" r:id="rId7"/>
    <p:sldId id="2147477892" r:id="rId8"/>
    <p:sldId id="2147477884" r:id="rId9"/>
    <p:sldId id="2147477891" r:id="rId10"/>
    <p:sldId id="2147477880" r:id="rId11"/>
    <p:sldId id="2147477893" r:id="rId12"/>
    <p:sldId id="9170" r:id="rId13"/>
    <p:sldId id="3396" r:id="rId14"/>
    <p:sldId id="9172" r:id="rId15"/>
    <p:sldId id="9171"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4712" autoAdjust="0"/>
  </p:normalViewPr>
  <p:slideViewPr>
    <p:cSldViewPr snapToGrid="0">
      <p:cViewPr varScale="1">
        <p:scale>
          <a:sx n="109" d="100"/>
          <a:sy n="109" d="100"/>
        </p:scale>
        <p:origin x="67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46A9D1-F1F7-4A51-AF63-2946A9D4BF90}" type="datetimeFigureOut">
              <a:rPr lang="en-US" smtClean="0"/>
              <a:t>3/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7A3649-92D8-498C-878F-C65EBDBC04C7}" type="slidenum">
              <a:rPr lang="en-US" smtClean="0"/>
              <a:t>‹#›</a:t>
            </a:fld>
            <a:endParaRPr lang="en-US" dirty="0"/>
          </a:p>
        </p:txBody>
      </p:sp>
    </p:spTree>
    <p:extLst>
      <p:ext uri="{BB962C8B-B14F-4D97-AF65-F5344CB8AC3E}">
        <p14:creationId xmlns:p14="http://schemas.microsoft.com/office/powerpoint/2010/main" val="3004102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11/2023 – AASHTO Council on Rail Transportation – Annual Mee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r role: Keynote/Opening Remarks (</a:t>
            </a:r>
            <a:r>
              <a:rPr lang="en-US" b="1" u="sng" dirty="0"/>
              <a:t>10 minutes to present</a:t>
            </a:r>
            <a:r>
              <a:rPr lang="en-US" dirty="0"/>
              <a:t>); </a:t>
            </a:r>
            <a:r>
              <a:rPr lang="en-US" u="sng" dirty="0"/>
              <a:t>No Q&amp;A</a:t>
            </a:r>
          </a:p>
          <a:p>
            <a:r>
              <a:rPr lang="en-US" dirty="0"/>
              <a:t>Time: Event begins at 8:30 a.m.; your role begins at 8:40 a.m.</a:t>
            </a:r>
          </a:p>
          <a:p>
            <a:r>
              <a:rPr lang="en-US" dirty="0"/>
              <a:t>Where: in person in San Diego at the Westin San Diego Bayview</a:t>
            </a:r>
          </a:p>
          <a:p>
            <a:pPr marL="0" marR="0">
              <a:spcBef>
                <a:spcPts val="0"/>
              </a:spcBef>
              <a:spcAft>
                <a:spcPts val="0"/>
              </a:spcAft>
            </a:pPr>
            <a:r>
              <a:rPr lang="en-US" sz="1800" b="0" dirty="0">
                <a:effectLst/>
                <a:latin typeface="Calibri" panose="020F0502020204030204" pitchFamily="34" charset="0"/>
                <a:ea typeface="Calibri" panose="020F0502020204030204" pitchFamily="34" charset="0"/>
              </a:rPr>
              <a:t>Approximately 220 Attendees to include transportation professionals, contractors/industry, government officials, community leaders, business leaders. </a:t>
            </a:r>
          </a:p>
          <a:p>
            <a:pPr marL="0" marR="0">
              <a:spcBef>
                <a:spcPts val="0"/>
              </a:spcBef>
              <a:spcAft>
                <a:spcPts val="0"/>
              </a:spcAft>
            </a:pPr>
            <a:r>
              <a:rPr lang="en-US" sz="1800" b="0" dirty="0">
                <a:effectLst/>
                <a:latin typeface="Calibri" panose="020F0502020204030204" pitchFamily="34" charset="0"/>
                <a:ea typeface="Calibri" panose="020F0502020204030204" pitchFamily="34" charset="0"/>
              </a:rPr>
              <a:t>Some include:</a:t>
            </a:r>
          </a:p>
          <a:p>
            <a:pPr marL="0" marR="0">
              <a:spcBef>
                <a:spcPts val="0"/>
              </a:spcBef>
              <a:spcAft>
                <a:spcPts val="0"/>
              </a:spcAft>
            </a:pPr>
            <a:r>
              <a:rPr lang="en-US" sz="1800" b="0" dirty="0">
                <a:effectLst/>
                <a:latin typeface="Calibri" panose="020F0502020204030204" pitchFamily="34" charset="0"/>
                <a:ea typeface="Calibri" panose="020F0502020204030204" pitchFamily="34" charset="0"/>
              </a:rPr>
              <a:t>State DOT Rail Directors/Rail Staff, the Office of the Secretary of Transportation, the Federal Railroad Administration, the Federal Highway Administration, Class I RR’s, RR Union Representatives, Shortline Railroads, Private Rail Industry Representatives, Engineering/Consulting Firm Attendees as well.</a:t>
            </a:r>
          </a:p>
          <a:p>
            <a:r>
              <a:rPr lang="en-US" dirty="0"/>
              <a:t>Summary: AASHTO's Council on Rail Transportation Annual Meeting is an opportunity for members and delegates to engage in peer exchange and technical sessions relating to both freight and passenger rail. As freight rail, intermodal transportation and passenger rail needs at the state and regional level continue to grow, this forum will give attendees an opportunity to engage with industry leaders to exchange information on issues vital to maintaining a strong rail system.</a:t>
            </a:r>
            <a:endParaRPr lang="en-US" sz="1200" dirty="0">
              <a:solidFill>
                <a:srgbClr val="1F497D"/>
              </a:solidFill>
              <a:effectLst/>
              <a:latin typeface="Calibri" panose="020F0502020204030204" pitchFamily="34" charset="0"/>
              <a:ea typeface="Times New Roman" panose="02020603050405020304" pitchFamily="18" charset="0"/>
            </a:endParaRPr>
          </a:p>
          <a:p>
            <a:r>
              <a:rPr lang="en-US" sz="1200" dirty="0">
                <a:solidFill>
                  <a:srgbClr val="1F497D"/>
                </a:solidFill>
                <a:effectLst/>
                <a:latin typeface="Calibri" panose="020F0502020204030204" pitchFamily="34" charset="0"/>
                <a:ea typeface="Times New Roman" panose="02020603050405020304" pitchFamily="18" charset="0"/>
              </a:rPr>
              <a:t>Note:</a:t>
            </a:r>
          </a:p>
          <a:p>
            <a:pPr marL="171450" indent="-171450">
              <a:buFont typeface="Arial" panose="020B0604020202020204" pitchFamily="34" charset="0"/>
              <a:buChar char="•"/>
            </a:pPr>
            <a:r>
              <a:rPr lang="en-US" sz="1200" dirty="0">
                <a:solidFill>
                  <a:srgbClr val="1F497D"/>
                </a:solidFill>
                <a:effectLst/>
                <a:latin typeface="Calibri" panose="020F0502020204030204" pitchFamily="34" charset="0"/>
                <a:ea typeface="Times New Roman" panose="02020603050405020304" pitchFamily="18" charset="0"/>
              </a:rPr>
              <a:t>You will be introduced by AASHTO Council on Rail Chairman Marc Williams, Executive Director – Texas DOT </a:t>
            </a:r>
          </a:p>
          <a:p>
            <a:pPr marL="0" indent="0">
              <a:lnSpc>
                <a:spcPct val="107000"/>
              </a:lnSpc>
              <a:buFont typeface="Arial" panose="020B0604020202020204" pitchFamily="34" charset="0"/>
              <a:buNone/>
            </a:pPr>
            <a:endParaRPr lang="en-US" dirty="0"/>
          </a:p>
          <a:p>
            <a:pPr marL="0" indent="-171450">
              <a:lnSpc>
                <a:spcPct val="107000"/>
              </a:lnSpc>
              <a:buFont typeface="Arial" panose="020B0604020202020204" pitchFamily="34" charset="0"/>
              <a:buChar char="•"/>
            </a:pPr>
            <a:r>
              <a:rPr lang="en-US" dirty="0"/>
              <a:t>Good morning! What a year it’s been in rail– and we’re still charging ahead.</a:t>
            </a:r>
          </a:p>
          <a:p>
            <a:pPr marL="0" indent="-171450">
              <a:lnSpc>
                <a:spcPct val="107000"/>
              </a:lnSpc>
              <a:buFont typeface="Arial" panose="020B0604020202020204" pitchFamily="34" charset="0"/>
              <a:buChar char="•"/>
            </a:pPr>
            <a:endParaRPr lang="en-US" dirty="0"/>
          </a:p>
          <a:p>
            <a:pPr marL="0" indent="-171450">
              <a:lnSpc>
                <a:spcPct val="107000"/>
              </a:lnSpc>
              <a:buFont typeface="Arial" panose="020B0604020202020204" pitchFamily="34" charset="0"/>
              <a:buChar char="•"/>
            </a:pPr>
            <a:r>
              <a:rPr lang="en-US" dirty="0"/>
              <a:t>Funding, progress and innovation have all been merging to get us to this point, and I’m excited to watch it happening in real time.</a:t>
            </a:r>
          </a:p>
          <a:p>
            <a:pPr marL="474738" indent="0">
              <a:lnSpc>
                <a:spcPct val="107000"/>
              </a:lnSpc>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23598725-0528-4D57-956F-58BE490603A8}" type="slidenum">
              <a:rPr lang="en-US" smtClean="0"/>
              <a:t>1</a:t>
            </a:fld>
            <a:endParaRPr lang="en-US" dirty="0"/>
          </a:p>
        </p:txBody>
      </p:sp>
    </p:spTree>
    <p:extLst>
      <p:ext uri="{BB962C8B-B14F-4D97-AF65-F5344CB8AC3E}">
        <p14:creationId xmlns:p14="http://schemas.microsoft.com/office/powerpoint/2010/main" val="2844066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77EBB214-60FE-46F7-9BB4-3A9F37DD5F88}" type="slidenum">
              <a:rPr lang="en-US" smtClean="0"/>
              <a:t>2</a:t>
            </a:fld>
            <a:endParaRPr lang="en-US" dirty="0"/>
          </a:p>
        </p:txBody>
      </p:sp>
    </p:spTree>
    <p:extLst>
      <p:ext uri="{BB962C8B-B14F-4D97-AF65-F5344CB8AC3E}">
        <p14:creationId xmlns:p14="http://schemas.microsoft.com/office/powerpoint/2010/main" val="3442526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06B4A-CA31-1A0C-84F1-BBAD5795C2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058652-181B-697A-F98F-98532C454B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3F4E9-0C32-E12E-3B8A-A134524E4D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ED2D827-9387-8696-5936-EBFA141BE2DB}"/>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C79A48-F1C1-4038-B155-730958C6B9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8515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5991B-8400-F1BF-3B37-4CD1D47AC0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87C006-E83B-BFDF-B78E-16475653A3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8008193-3B63-4D85-001C-54EE15A08F7F}"/>
              </a:ext>
            </a:extLst>
          </p:cNvPr>
          <p:cNvSpPr>
            <a:spLocks noGrp="1"/>
          </p:cNvSpPr>
          <p:nvPr>
            <p:ph type="body" idx="1"/>
          </p:nvPr>
        </p:nvSpPr>
        <p:spPr/>
        <p:txBody>
          <a:bodyPr/>
          <a:lstStyle/>
          <a:p>
            <a:r>
              <a:rPr lang="en-US" dirty="0"/>
              <a:t>w</a:t>
            </a:r>
          </a:p>
        </p:txBody>
      </p:sp>
      <p:sp>
        <p:nvSpPr>
          <p:cNvPr id="4" name="Slide Number Placeholder 3">
            <a:extLst>
              <a:ext uri="{FF2B5EF4-FFF2-40B4-BE49-F238E27FC236}">
                <a16:creationId xmlns:a16="http://schemas.microsoft.com/office/drawing/2014/main" id="{2F25AA68-ED63-240B-AECE-D440A9D11AA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C79A48-F1C1-4038-B155-730958C6B9C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469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23F7F-2EE9-F6B2-E48A-3179469276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F61B49-796A-6870-5CD5-D4E954010CF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28A343-5DE5-C912-B4A3-6BEE2CBD89B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E61E87-5C09-7988-FA6B-B529B196893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680FD-6806-4030-AC89-477E5423E1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71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263FBB-73F6-4319-BB04-78A8766085A6}" type="slidenum">
              <a:rPr kumimoji="0" lang="en-US" sz="800" b="0" i="0" u="none" strike="noStrike" kern="1200" cap="none" spc="0" normalizeH="0" baseline="0" noProof="0" smtClean="0">
                <a:ln>
                  <a:noFill/>
                </a:ln>
                <a:solidFill>
                  <a:prstClr val="black"/>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8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352029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263FBB-73F6-4319-BB04-78A8766085A6}" type="slidenum">
              <a:rPr kumimoji="0" lang="en-US" sz="8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77482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27984" rtl="0" eaLnBrk="1" fontAlgn="base" latinLnBrk="0" hangingPunct="1">
              <a:lnSpc>
                <a:spcPct val="100000"/>
              </a:lnSpc>
              <a:spcBef>
                <a:spcPct val="0"/>
              </a:spcBef>
              <a:spcAft>
                <a:spcPct val="0"/>
              </a:spcAft>
              <a:buClrTx/>
              <a:buSzTx/>
              <a:buFontTx/>
              <a:buNone/>
              <a:tabLst/>
              <a:defRPr/>
            </a:pPr>
            <a:fld id="{D2263FBB-73F6-4319-BB04-78A8766085A6}" type="slidenum">
              <a:rPr kumimoji="0" lang="en-US" sz="8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27984" rtl="0" eaLnBrk="1" fontAlgn="base" latinLnBrk="0" hangingPunct="1">
                <a:lnSpc>
                  <a:spcPct val="100000"/>
                </a:lnSpc>
                <a:spcBef>
                  <a:spcPct val="0"/>
                </a:spcBef>
                <a:spcAft>
                  <a:spcPct val="0"/>
                </a:spcAft>
                <a:buClrTx/>
                <a:buSzTx/>
                <a:buFontTx/>
                <a:buNone/>
                <a:tabLst/>
                <a:defRPr/>
              </a:pPr>
              <a:t>11</a:t>
            </a:fld>
            <a:endParaRPr kumimoji="0" lang="en-US" sz="8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4114958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fld id="{8C268C86-ECE2-44D0-ABC1-899EC318A3A6}"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pPr marL="0" marR="0" lvl="0" indent="0" algn="r" defTabSz="921167"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02275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microsoft.com/office/2007/relationships/hdphoto" Target="../media/hdphoto5.wdp"/></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1C936C-3E58-9570-1166-AA2F61C1C7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036BB99-6FFF-F228-C4CB-1BB96D4AA1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95FAC8-1998-8F02-EDEC-192E2637BE41}"/>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C6C06762-F290-C2A0-425B-AB6F2F0C72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74E4DD2-9B5D-A87E-1007-FDFEEE3C88F3}"/>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88669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FDBDC-E39A-591D-F5A3-F608E76FAF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B674374-B9EA-22C6-25C3-AC9519E6E8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39902A-E660-354A-D925-B28EFC222C55}"/>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EC37F692-E00C-8313-7DFC-B0FA326F1F8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9D280E9-CE29-8285-BAB2-929E7636F541}"/>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187019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C90A64-BEE6-EE62-6E03-5DE7882F8E6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CEFBF3-183F-C713-2B45-F6F576C14D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B5F8B-6802-A196-EC6E-2B61BEF41498}"/>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83A8AD2D-2B6F-69F1-13AA-4873C01EB75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CD11B1-D008-03F5-C0A7-8AB5FC7F0B86}"/>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390295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2600A-2449-4BD9-9AD5-965BDA5F66E7}"/>
              </a:ext>
            </a:extLst>
          </p:cNvPr>
          <p:cNvSpPr>
            <a:spLocks noGrp="1"/>
          </p:cNvSpPr>
          <p:nvPr>
            <p:ph type="title"/>
          </p:nvPr>
        </p:nvSpPr>
        <p:spPr>
          <a:xfrm>
            <a:off x="1857246" y="365125"/>
            <a:ext cx="9496554" cy="1325563"/>
          </a:xfrm>
        </p:spPr>
        <p:txBody>
          <a:bodyPr/>
          <a:lstStyle/>
          <a:p>
            <a:r>
              <a:rPr lang="en-US"/>
              <a:t>Click to edit Master title style</a:t>
            </a:r>
          </a:p>
        </p:txBody>
      </p:sp>
      <p:sp>
        <p:nvSpPr>
          <p:cNvPr id="3" name="Date Placeholder 2">
            <a:extLst>
              <a:ext uri="{FF2B5EF4-FFF2-40B4-BE49-F238E27FC236}">
                <a16:creationId xmlns:a16="http://schemas.microsoft.com/office/drawing/2014/main" id="{39539232-0C31-495B-AC25-7B5B9A5524CC}"/>
              </a:ext>
            </a:extLst>
          </p:cNvPr>
          <p:cNvSpPr>
            <a:spLocks noGrp="1"/>
          </p:cNvSpPr>
          <p:nvPr>
            <p:ph type="dt" sz="half" idx="10"/>
          </p:nvPr>
        </p:nvSpPr>
        <p:spPr>
          <a:xfrm>
            <a:off x="1511529" y="6356350"/>
            <a:ext cx="2743200" cy="365125"/>
          </a:xfrm>
        </p:spPr>
        <p:txBody>
          <a:bodyPr/>
          <a:lstStyle/>
          <a:p>
            <a:fld id="{B1D2E20C-E75B-4FA8-A001-095715E7BE2C}" type="datetimeFigureOut">
              <a:rPr lang="en-US" smtClean="0"/>
              <a:t>3/8/2024</a:t>
            </a:fld>
            <a:endParaRPr lang="en-US" dirty="0"/>
          </a:p>
        </p:txBody>
      </p:sp>
      <p:sp>
        <p:nvSpPr>
          <p:cNvPr id="4" name="Footer Placeholder 3">
            <a:extLst>
              <a:ext uri="{FF2B5EF4-FFF2-40B4-BE49-F238E27FC236}">
                <a16:creationId xmlns:a16="http://schemas.microsoft.com/office/drawing/2014/main" id="{A3958A25-B34A-4B3B-82F5-856E63759DAD}"/>
              </a:ext>
            </a:extLst>
          </p:cNvPr>
          <p:cNvSpPr>
            <a:spLocks noGrp="1"/>
          </p:cNvSpPr>
          <p:nvPr>
            <p:ph type="ftr" sz="quarter" idx="11"/>
          </p:nvPr>
        </p:nvSpPr>
        <p:spPr>
          <a:xfrm>
            <a:off x="4711929" y="6356350"/>
            <a:ext cx="4114800" cy="365125"/>
          </a:xfrm>
        </p:spPr>
        <p:txBody>
          <a:bodyPr/>
          <a:lstStyle/>
          <a:p>
            <a:endParaRPr lang="en-US" dirty="0"/>
          </a:p>
        </p:txBody>
      </p:sp>
      <p:sp>
        <p:nvSpPr>
          <p:cNvPr id="5" name="Slide Number Placeholder 4">
            <a:extLst>
              <a:ext uri="{FF2B5EF4-FFF2-40B4-BE49-F238E27FC236}">
                <a16:creationId xmlns:a16="http://schemas.microsoft.com/office/drawing/2014/main" id="{E2CEEDFE-1683-43B7-A2F8-CD80B64941BA}"/>
              </a:ext>
            </a:extLst>
          </p:cNvPr>
          <p:cNvSpPr>
            <a:spLocks noGrp="1"/>
          </p:cNvSpPr>
          <p:nvPr>
            <p:ph type="sldNum" sz="quarter" idx="12"/>
          </p:nvPr>
        </p:nvSpPr>
        <p:spPr>
          <a:xfrm>
            <a:off x="9283929" y="6356350"/>
            <a:ext cx="2743200" cy="365125"/>
          </a:xfrm>
        </p:spPr>
        <p:txBody>
          <a:bodyPr/>
          <a:lstStyle/>
          <a:p>
            <a:fld id="{3BD3549B-FD74-479D-952E-25A3FB939E0B}" type="slidenum">
              <a:rPr lang="en-US" smtClean="0"/>
              <a:t>‹#›</a:t>
            </a:fld>
            <a:endParaRPr lang="en-US" dirty="0"/>
          </a:p>
        </p:txBody>
      </p:sp>
      <p:sp>
        <p:nvSpPr>
          <p:cNvPr id="6" name="Rectangle 5">
            <a:extLst>
              <a:ext uri="{FF2B5EF4-FFF2-40B4-BE49-F238E27FC236}">
                <a16:creationId xmlns:a16="http://schemas.microsoft.com/office/drawing/2014/main" id="{E9DDB9A1-75DF-4AF9-BF44-89BD0C603DEF}"/>
              </a:ext>
            </a:extLst>
          </p:cNvPr>
          <p:cNvSpPr/>
          <p:nvPr/>
        </p:nvSpPr>
        <p:spPr>
          <a:xfrm>
            <a:off x="0" y="0"/>
            <a:ext cx="1024759"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9FA93FA-1340-4BB0-B975-3B9CB7EC0FA9}"/>
              </a:ext>
            </a:extLst>
          </p:cNvPr>
          <p:cNvSpPr/>
          <p:nvPr/>
        </p:nvSpPr>
        <p:spPr>
          <a:xfrm>
            <a:off x="1024759" y="0"/>
            <a:ext cx="236483" cy="6858000"/>
          </a:xfrm>
          <a:prstGeom prst="rect">
            <a:avLst/>
          </a:prstGeom>
          <a:solidFill>
            <a:srgbClr val="F4B73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C837B88-5171-46BF-BE84-E355F509D7C6}"/>
              </a:ext>
            </a:extLst>
          </p:cNvPr>
          <p:cNvPicPr>
            <a:picLocks noChangeAspect="1"/>
          </p:cNvPicPr>
          <p:nvPr/>
        </p:nvPicPr>
        <p:blipFill>
          <a:blip r:embed="rId2"/>
          <a:stretch>
            <a:fillRect/>
          </a:stretch>
        </p:blipFill>
        <p:spPr>
          <a:xfrm>
            <a:off x="527252" y="390152"/>
            <a:ext cx="1143435" cy="1188720"/>
          </a:xfrm>
          <a:prstGeom prst="rect">
            <a:avLst/>
          </a:prstGeom>
        </p:spPr>
      </p:pic>
    </p:spTree>
    <p:extLst>
      <p:ext uri="{BB962C8B-B14F-4D97-AF65-F5344CB8AC3E}">
        <p14:creationId xmlns:p14="http://schemas.microsoft.com/office/powerpoint/2010/main" val="1823288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50981" y="2521526"/>
            <a:ext cx="11460019" cy="1699491"/>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350981" y="4350327"/>
            <a:ext cx="11460019" cy="1830491"/>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Content Placeholder 5">
            <a:extLst>
              <a:ext uri="{FF2B5EF4-FFF2-40B4-BE49-F238E27FC236}">
                <a16:creationId xmlns:a16="http://schemas.microsoft.com/office/drawing/2014/main" id="{0089D998-339A-47F5-AF95-AF5D5BCFF821}"/>
              </a:ext>
              <a:ext uri="{C183D7F6-B498-43B3-948B-1728B52AA6E4}">
                <adec:decorative xmlns:adec="http://schemas.microsoft.com/office/drawing/2017/decorative" xmlns="" val="1"/>
              </a:ext>
            </a:extLst>
          </p:cNvPr>
          <p:cNvPicPr>
            <a:picLocks noChangeAspect="1"/>
          </p:cNvPicPr>
          <p:nvPr/>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2000" contrast="53000"/>
                    </a14:imgEffect>
                  </a14:imgLayer>
                </a14:imgProps>
              </a:ext>
              <a:ext uri="{28A0092B-C50C-407E-A947-70E740481C1C}">
                <a14:useLocalDpi xmlns:a14="http://schemas.microsoft.com/office/drawing/2010/main"/>
              </a:ext>
            </a:extLst>
          </a:blip>
          <a:srcRect/>
          <a:stretch/>
        </p:blipFill>
        <p:spPr>
          <a:xfrm>
            <a:off x="0" y="-1"/>
            <a:ext cx="12192000" cy="2387601"/>
          </a:xfrm>
          <a:prstGeom prst="rect">
            <a:avLst/>
          </a:prstGeom>
        </p:spPr>
      </p:pic>
      <p:pic>
        <p:nvPicPr>
          <p:cNvPr id="8" name="Graphic 7" descr="HSR Logo">
            <a:extLst>
              <a:ext uri="{FF2B5EF4-FFF2-40B4-BE49-F238E27FC236}">
                <a16:creationId xmlns:a16="http://schemas.microsoft.com/office/drawing/2014/main" id="{780877C5-0029-40BC-9770-6A579B8C9E20}"/>
              </a:ext>
              <a:ext uri="{C183D7F6-B498-43B3-948B-1728B52AA6E4}">
                <adec:decorative xmlns:adec="http://schemas.microsoft.com/office/drawing/2017/decorative" xmlns="" val="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385450" y="677181"/>
            <a:ext cx="7421100" cy="1428709"/>
          </a:xfrm>
          <a:prstGeom prst="rect">
            <a:avLst/>
          </a:prstGeom>
        </p:spPr>
      </p:pic>
      <p:sp>
        <p:nvSpPr>
          <p:cNvPr id="10" name="Date Placeholder 9">
            <a:extLst>
              <a:ext uri="{FF2B5EF4-FFF2-40B4-BE49-F238E27FC236}">
                <a16:creationId xmlns:a16="http://schemas.microsoft.com/office/drawing/2014/main" id="{4D059366-519F-48C6-928D-2E28C6D17DDA}"/>
              </a:ext>
            </a:extLst>
          </p:cNvPr>
          <p:cNvSpPr>
            <a:spLocks noGrp="1"/>
          </p:cNvSpPr>
          <p:nvPr>
            <p:ph type="dt" sz="half" idx="10"/>
          </p:nvPr>
        </p:nvSpPr>
        <p:spPr/>
        <p:txBody>
          <a:bodyPr/>
          <a:lstStyle/>
          <a:p>
            <a:endParaRPr lang="en-US" dirty="0"/>
          </a:p>
        </p:txBody>
      </p:sp>
      <p:sp>
        <p:nvSpPr>
          <p:cNvPr id="11" name="Footer Placeholder 10">
            <a:extLst>
              <a:ext uri="{FF2B5EF4-FFF2-40B4-BE49-F238E27FC236}">
                <a16:creationId xmlns:a16="http://schemas.microsoft.com/office/drawing/2014/main" id="{92C7162D-34E6-4C18-AFF5-4B9BB392CDBD}"/>
              </a:ext>
            </a:extLst>
          </p:cNvPr>
          <p:cNvSpPr>
            <a:spLocks noGrp="1"/>
          </p:cNvSpPr>
          <p:nvPr>
            <p:ph type="ftr" sz="quarter" idx="11"/>
          </p:nvPr>
        </p:nvSpPr>
        <p:spPr/>
        <p:txBody>
          <a:bodyPr/>
          <a:lstStyle/>
          <a:p>
            <a:r>
              <a:rPr lang="en-US" dirty="0"/>
              <a:t>2024 Draft Business Plan Update</a:t>
            </a:r>
          </a:p>
        </p:txBody>
      </p:sp>
      <p:sp>
        <p:nvSpPr>
          <p:cNvPr id="12" name="Slide Number Placeholder 11">
            <a:extLst>
              <a:ext uri="{FF2B5EF4-FFF2-40B4-BE49-F238E27FC236}">
                <a16:creationId xmlns:a16="http://schemas.microsoft.com/office/drawing/2014/main" id="{0E3462D3-453D-44C9-904F-53CE936E5B35}"/>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0428938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0" name="Content Placeholder 5">
            <a:extLst>
              <a:ext uri="{FF2B5EF4-FFF2-40B4-BE49-F238E27FC236}">
                <a16:creationId xmlns:a16="http://schemas.microsoft.com/office/drawing/2014/main" id="{3496119C-F114-45A6-BEF6-558B700DCF9E}"/>
              </a:ext>
              <a:ext uri="{C183D7F6-B498-43B3-948B-1728B52AA6E4}">
                <adec:decorative xmlns:adec="http://schemas.microsoft.com/office/drawing/2017/decorative" xmlns="" val="1"/>
              </a:ext>
            </a:extLst>
          </p:cNvPr>
          <p:cNvPicPr>
            <a:picLocks noChangeAspect="1"/>
          </p:cNvPicPr>
          <p:nvPr/>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2000" contrast="53000"/>
                    </a14:imgEffect>
                  </a14:imgLayer>
                </a14:imgProps>
              </a:ext>
              <a:ext uri="{28A0092B-C50C-407E-A947-70E740481C1C}">
                <a14:useLocalDpi xmlns:a14="http://schemas.microsoft.com/office/drawing/2010/main"/>
              </a:ext>
            </a:extLst>
          </a:blip>
          <a:srcRect r="-159"/>
          <a:stretch/>
        </p:blipFill>
        <p:spPr>
          <a:xfrm>
            <a:off x="0" y="5"/>
            <a:ext cx="12339782" cy="6941128"/>
          </a:xfrm>
          <a:prstGeom prst="rect">
            <a:avLst/>
          </a:prstGeom>
        </p:spPr>
      </p:pic>
      <p:pic>
        <p:nvPicPr>
          <p:cNvPr id="8" name="Graphic 7" descr="HSR Logo">
            <a:extLst>
              <a:ext uri="{FF2B5EF4-FFF2-40B4-BE49-F238E27FC236}">
                <a16:creationId xmlns:a16="http://schemas.microsoft.com/office/drawing/2014/main" id="{40F87570-FBA2-40F9-85B0-DC660587B8BF}"/>
              </a:ext>
              <a:ext uri="{C183D7F6-B498-43B3-948B-1728B52AA6E4}">
                <adec:decorative xmlns:adec="http://schemas.microsoft.com/office/drawing/2017/decorative" xmlns="" val="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713666" y="677182"/>
            <a:ext cx="6764668" cy="1262454"/>
          </a:xfrm>
          <a:prstGeom prst="rect">
            <a:avLst/>
          </a:prstGeom>
        </p:spPr>
      </p:pic>
      <p:sp>
        <p:nvSpPr>
          <p:cNvPr id="7" name="Title 6">
            <a:extLst>
              <a:ext uri="{FF2B5EF4-FFF2-40B4-BE49-F238E27FC236}">
                <a16:creationId xmlns:a16="http://schemas.microsoft.com/office/drawing/2014/main" id="{4C57E5AD-04A0-433A-8D25-6099E90BAA0A}"/>
              </a:ext>
            </a:extLst>
          </p:cNvPr>
          <p:cNvSpPr>
            <a:spLocks noGrp="1"/>
          </p:cNvSpPr>
          <p:nvPr>
            <p:ph type="title" hasCustomPrompt="1"/>
          </p:nvPr>
        </p:nvSpPr>
        <p:spPr>
          <a:xfrm>
            <a:off x="603445" y="2484213"/>
            <a:ext cx="10978959" cy="2768922"/>
          </a:xfrm>
        </p:spPr>
        <p:txBody>
          <a:bodyPr anchor="ctr">
            <a:normAutofit/>
          </a:bodyPr>
          <a:lstStyle>
            <a:lvl1pPr algn="ctr">
              <a:defRPr sz="5400">
                <a:solidFill>
                  <a:schemeClr val="bg1"/>
                </a:solidFill>
              </a:defRPr>
            </a:lvl1pPr>
          </a:lstStyle>
          <a:p>
            <a:r>
              <a:rPr lang="en-US"/>
              <a:t>Main Title of PowerPoint</a:t>
            </a:r>
          </a:p>
        </p:txBody>
      </p:sp>
      <p:sp>
        <p:nvSpPr>
          <p:cNvPr id="3" name="Subtitle 2"/>
          <p:cNvSpPr>
            <a:spLocks noGrp="1"/>
          </p:cNvSpPr>
          <p:nvPr>
            <p:ph type="subTitle" idx="1" hasCustomPrompt="1"/>
          </p:nvPr>
        </p:nvSpPr>
        <p:spPr>
          <a:xfrm>
            <a:off x="1524000" y="5486513"/>
            <a:ext cx="9144000" cy="744992"/>
          </a:xfrm>
        </p:spPr>
        <p:txBody>
          <a:bodyPr anchor="ct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peakers, Date, Etc.</a:t>
            </a:r>
          </a:p>
        </p:txBody>
      </p:sp>
    </p:spTree>
    <p:extLst>
      <p:ext uri="{BB962C8B-B14F-4D97-AF65-F5344CB8AC3E}">
        <p14:creationId xmlns:p14="http://schemas.microsoft.com/office/powerpoint/2010/main" val="2056628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42900" y="1709738"/>
            <a:ext cx="114681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342900" y="4589463"/>
            <a:ext cx="114681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t>2024 Draft Business Plan Update</a:t>
            </a:r>
          </a:p>
        </p:txBody>
      </p:sp>
      <p:sp>
        <p:nvSpPr>
          <p:cNvPr id="4" name="Date Placeholder 3"/>
          <p:cNvSpPr>
            <a:spLocks noGrp="1"/>
          </p:cNvSpPr>
          <p:nvPr>
            <p:ph type="dt" sz="half" idx="10"/>
          </p:nvPr>
        </p:nvSpPr>
        <p:spPr/>
        <p:txBody>
          <a:bodyPr/>
          <a:lstStyle/>
          <a:p>
            <a:fld id="{F5019F62-AE58-4437-8D82-E61F92F03977}" type="datetime1">
              <a:rPr lang="en-US" smtClean="0"/>
              <a:pPr/>
              <a:t>3/8/2024</a:t>
            </a:fld>
            <a:endParaRPr lang="en-US" dirty="0"/>
          </a:p>
        </p:txBody>
      </p:sp>
      <p:sp>
        <p:nvSpPr>
          <p:cNvPr id="6" name="Slide Number Placeholder 5"/>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376095341"/>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Presenter/Webinar Slide">
    <p:bg>
      <p:bgRef idx="1001">
        <a:schemeClr val="bg1"/>
      </p:bgRef>
    </p:bg>
    <p:spTree>
      <p:nvGrpSpPr>
        <p:cNvPr id="1" name=""/>
        <p:cNvGrpSpPr/>
        <p:nvPr/>
      </p:nvGrpSpPr>
      <p:grpSpPr>
        <a:xfrm>
          <a:off x="0" y="0"/>
          <a:ext cx="0" cy="0"/>
          <a:chOff x="0" y="0"/>
          <a:chExt cx="0" cy="0"/>
        </a:xfrm>
      </p:grpSpPr>
      <p:pic>
        <p:nvPicPr>
          <p:cNvPr id="10" name="Content Placeholder 5" descr="A train on the railway tracks&#10;&#10;Description automatically generated">
            <a:extLst>
              <a:ext uri="{FF2B5EF4-FFF2-40B4-BE49-F238E27FC236}">
                <a16:creationId xmlns:a16="http://schemas.microsoft.com/office/drawing/2014/main" id="{0A3EB1BE-4913-4C0B-8C45-737A46DC06F9}"/>
              </a:ext>
            </a:extLst>
          </p:cNvPr>
          <p:cNvPicPr>
            <a:picLocks noChangeAspect="1"/>
          </p:cNvPicPr>
          <p:nvPr/>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2000" contrast="53000"/>
                    </a14:imgEffect>
                  </a14:imgLayer>
                </a14:imgProps>
              </a:ext>
              <a:ext uri="{28A0092B-C50C-407E-A947-70E740481C1C}">
                <a14:useLocalDpi xmlns:a14="http://schemas.microsoft.com/office/drawing/2010/main"/>
              </a:ext>
            </a:extLst>
          </a:blip>
          <a:srcRect/>
          <a:stretch/>
        </p:blipFill>
        <p:spPr>
          <a:xfrm>
            <a:off x="0" y="0"/>
            <a:ext cx="12192000" cy="2086220"/>
          </a:xfrm>
          <a:prstGeom prst="rect">
            <a:avLst/>
          </a:prstGeom>
        </p:spPr>
      </p:pic>
      <p:pic>
        <p:nvPicPr>
          <p:cNvPr id="12" name="Graphic 11">
            <a:extLst>
              <a:ext uri="{FF2B5EF4-FFF2-40B4-BE49-F238E27FC236}">
                <a16:creationId xmlns:a16="http://schemas.microsoft.com/office/drawing/2014/main" id="{14091748-0506-42E3-8548-9E8F987966A4}"/>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4188826" y="274421"/>
            <a:ext cx="3814349" cy="717940"/>
          </a:xfrm>
          <a:prstGeom prst="rect">
            <a:avLst/>
          </a:prstGeom>
        </p:spPr>
      </p:pic>
      <p:sp>
        <p:nvSpPr>
          <p:cNvPr id="2" name="Title 1">
            <a:extLst>
              <a:ext uri="{FF2B5EF4-FFF2-40B4-BE49-F238E27FC236}">
                <a16:creationId xmlns:a16="http://schemas.microsoft.com/office/drawing/2014/main" id="{531727A7-8921-479E-AF74-0D232F7D7BE8}"/>
              </a:ext>
            </a:extLst>
          </p:cNvPr>
          <p:cNvSpPr>
            <a:spLocks noGrp="1"/>
          </p:cNvSpPr>
          <p:nvPr>
            <p:ph type="title" hasCustomPrompt="1"/>
          </p:nvPr>
        </p:nvSpPr>
        <p:spPr>
          <a:xfrm>
            <a:off x="590216" y="996540"/>
            <a:ext cx="11011568" cy="897179"/>
          </a:xfrm>
        </p:spPr>
        <p:txBody>
          <a:bodyPr>
            <a:noAutofit/>
          </a:bodyPr>
          <a:lstStyle>
            <a:lvl1pPr algn="ctr">
              <a:defRPr sz="4000">
                <a:solidFill>
                  <a:schemeClr val="bg1"/>
                </a:solidFill>
              </a:defRPr>
            </a:lvl1pPr>
          </a:lstStyle>
          <a:p>
            <a:r>
              <a:rPr lang="en-US"/>
              <a:t>Presentation Title/Webinar title</a:t>
            </a:r>
          </a:p>
        </p:txBody>
      </p:sp>
      <p:sp>
        <p:nvSpPr>
          <p:cNvPr id="9" name="Content Placeholder 8">
            <a:extLst>
              <a:ext uri="{FF2B5EF4-FFF2-40B4-BE49-F238E27FC236}">
                <a16:creationId xmlns:a16="http://schemas.microsoft.com/office/drawing/2014/main" id="{CA112610-2168-4DB7-91E6-D5E2B69416C6}"/>
              </a:ext>
            </a:extLst>
          </p:cNvPr>
          <p:cNvSpPr>
            <a:spLocks noGrp="1"/>
          </p:cNvSpPr>
          <p:nvPr>
            <p:ph sz="quarter" idx="14" hasCustomPrompt="1"/>
          </p:nvPr>
        </p:nvSpPr>
        <p:spPr>
          <a:xfrm>
            <a:off x="342235" y="2189023"/>
            <a:ext cx="4598735" cy="3891107"/>
          </a:xfrm>
        </p:spPr>
        <p:txBody>
          <a:bodyPr>
            <a:normAutofit/>
          </a:bodyPr>
          <a:lstStyle>
            <a:lvl1pPr marL="0" indent="0">
              <a:buNone/>
              <a:defRPr sz="2800" b="1">
                <a:solidFill>
                  <a:schemeClr val="tx1"/>
                </a:solidFill>
              </a:defRPr>
            </a:lvl1pPr>
            <a:lvl2pPr>
              <a:defRPr sz="2000"/>
            </a:lvl2pPr>
            <a:lvl3pPr>
              <a:defRPr sz="1800"/>
            </a:lvl3pPr>
            <a:lvl4pPr>
              <a:defRPr sz="1600"/>
            </a:lvl4pPr>
            <a:lvl5pPr>
              <a:defRPr sz="1400"/>
            </a:lvl5pPr>
          </a:lstStyle>
          <a:p>
            <a:pPr lvl="0"/>
            <a:r>
              <a:rPr lang="en-US"/>
              <a:t>Presentation Agenda</a:t>
            </a:r>
          </a:p>
          <a:p>
            <a:pPr lvl="0"/>
            <a:endParaRPr lang="en-US"/>
          </a:p>
          <a:p>
            <a:pPr lvl="0"/>
            <a:r>
              <a:rPr lang="en-US"/>
              <a:t>Date/Information </a:t>
            </a:r>
          </a:p>
          <a:p>
            <a:pPr lvl="0"/>
            <a:endParaRPr lang="en-US"/>
          </a:p>
        </p:txBody>
      </p:sp>
      <p:sp>
        <p:nvSpPr>
          <p:cNvPr id="7" name="SmartArt Placeholder 6">
            <a:extLst>
              <a:ext uri="{FF2B5EF4-FFF2-40B4-BE49-F238E27FC236}">
                <a16:creationId xmlns:a16="http://schemas.microsoft.com/office/drawing/2014/main" id="{3F425565-7926-48E2-98DA-F6E0BDD935CB}"/>
              </a:ext>
            </a:extLst>
          </p:cNvPr>
          <p:cNvSpPr>
            <a:spLocks noGrp="1"/>
          </p:cNvSpPr>
          <p:nvPr>
            <p:ph type="dgm" sz="quarter" idx="13" hasCustomPrompt="1"/>
          </p:nvPr>
        </p:nvSpPr>
        <p:spPr>
          <a:xfrm>
            <a:off x="5154865" y="2175783"/>
            <a:ext cx="7037139" cy="3993905"/>
          </a:xfrm>
        </p:spPr>
        <p:txBody>
          <a:bodyPr/>
          <a:lstStyle>
            <a:lvl1pPr>
              <a:defRPr>
                <a:solidFill>
                  <a:schemeClr val="tx1"/>
                </a:solidFill>
              </a:defRPr>
            </a:lvl1pPr>
          </a:lstStyle>
          <a:p>
            <a:r>
              <a:rPr lang="en-US" dirty="0"/>
              <a:t>Add smart Graphic Here for images of the presenters. </a:t>
            </a:r>
          </a:p>
        </p:txBody>
      </p:sp>
      <p:sp>
        <p:nvSpPr>
          <p:cNvPr id="8" name="Footer Placeholder 7">
            <a:extLst>
              <a:ext uri="{FF2B5EF4-FFF2-40B4-BE49-F238E27FC236}">
                <a16:creationId xmlns:a16="http://schemas.microsoft.com/office/drawing/2014/main" id="{A09DEBAC-AA6F-44F6-947A-7E9583EA9E5B}"/>
              </a:ext>
            </a:extLst>
          </p:cNvPr>
          <p:cNvSpPr>
            <a:spLocks noGrp="1"/>
          </p:cNvSpPr>
          <p:nvPr>
            <p:ph type="ftr" sz="quarter" idx="16"/>
          </p:nvPr>
        </p:nvSpPr>
        <p:spPr/>
        <p:txBody>
          <a:bodyPr/>
          <a:lstStyle/>
          <a:p>
            <a:r>
              <a:rPr lang="en-US" dirty="0"/>
              <a:t>2024 Draft Business Plan Update</a:t>
            </a:r>
          </a:p>
        </p:txBody>
      </p:sp>
      <p:sp>
        <p:nvSpPr>
          <p:cNvPr id="6" name="Date Placeholder 5">
            <a:extLst>
              <a:ext uri="{FF2B5EF4-FFF2-40B4-BE49-F238E27FC236}">
                <a16:creationId xmlns:a16="http://schemas.microsoft.com/office/drawing/2014/main" id="{F18F3869-2F8B-4C3C-BCA9-8A2CF55C8FF1}"/>
              </a:ext>
            </a:extLst>
          </p:cNvPr>
          <p:cNvSpPr>
            <a:spLocks noGrp="1"/>
          </p:cNvSpPr>
          <p:nvPr>
            <p:ph type="dt" sz="half" idx="15"/>
          </p:nvPr>
        </p:nvSpPr>
        <p:spPr/>
        <p:txBody>
          <a:bodyPr/>
          <a:lstStyle/>
          <a:p>
            <a:fld id="{F5019F62-AE58-4437-8D82-E61F92F03977}" type="datetime1">
              <a:rPr lang="en-US" smtClean="0"/>
              <a:pPr/>
              <a:t>3/8/2024</a:t>
            </a:fld>
            <a:endParaRPr lang="en-US" dirty="0"/>
          </a:p>
        </p:txBody>
      </p:sp>
      <p:sp>
        <p:nvSpPr>
          <p:cNvPr id="11" name="Slide Number Placeholder 10">
            <a:extLst>
              <a:ext uri="{FF2B5EF4-FFF2-40B4-BE49-F238E27FC236}">
                <a16:creationId xmlns:a16="http://schemas.microsoft.com/office/drawing/2014/main" id="{5981B988-ECDE-40D8-BB02-2BBAF8CA7A56}"/>
              </a:ext>
            </a:extLst>
          </p:cNvPr>
          <p:cNvSpPr>
            <a:spLocks noGrp="1"/>
          </p:cNvSpPr>
          <p:nvPr>
            <p:ph type="sldNum" sz="quarter" idx="17"/>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3472008385"/>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Landscape Im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D2EEBF4-61D3-4B8A-B5BC-4B2DFC464DAB}"/>
              </a:ext>
              <a:ext uri="{C183D7F6-B498-43B3-948B-1728B52AA6E4}">
                <adec:decorative xmlns:adec="http://schemas.microsoft.com/office/drawing/2017/decorative" xmlns="" val="1"/>
              </a:ext>
            </a:extLst>
          </p:cNvPr>
          <p:cNvSpPr/>
          <p:nvPr/>
        </p:nvSpPr>
        <p:spPr>
          <a:xfrm rot="10800000" flipV="1">
            <a:off x="-2" y="4603172"/>
            <a:ext cx="12192001" cy="2334489"/>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10" name="Picture Placeholder 9">
            <a:extLst>
              <a:ext uri="{FF2B5EF4-FFF2-40B4-BE49-F238E27FC236}">
                <a16:creationId xmlns:a16="http://schemas.microsoft.com/office/drawing/2014/main" id="{13FD5F35-2B51-48E2-95C0-17288ACB2C0A}"/>
              </a:ext>
            </a:extLst>
          </p:cNvPr>
          <p:cNvSpPr>
            <a:spLocks noGrp="1"/>
          </p:cNvSpPr>
          <p:nvPr>
            <p:ph type="pic" sz="quarter" idx="13"/>
          </p:nvPr>
        </p:nvSpPr>
        <p:spPr>
          <a:xfrm flipH="1">
            <a:off x="0" y="0"/>
            <a:ext cx="12191998" cy="4603172"/>
          </a:xfrm>
          <a:prstGeom prst="rect">
            <a:avLst/>
          </a:prstGeom>
          <a:ln>
            <a:noFill/>
          </a:ln>
        </p:spPr>
        <p:txBody>
          <a:bodyPr/>
          <a:lstStyle/>
          <a:p>
            <a:r>
              <a:rPr lang="en-US" dirty="0"/>
              <a:t>Click icon to add picture</a:t>
            </a:r>
          </a:p>
        </p:txBody>
      </p:sp>
      <p:sp>
        <p:nvSpPr>
          <p:cNvPr id="2" name="Title 1"/>
          <p:cNvSpPr>
            <a:spLocks noGrp="1"/>
          </p:cNvSpPr>
          <p:nvPr>
            <p:ph type="title" hasCustomPrompt="1"/>
          </p:nvPr>
        </p:nvSpPr>
        <p:spPr>
          <a:xfrm>
            <a:off x="342900" y="4821382"/>
            <a:ext cx="8084460" cy="600363"/>
          </a:xfrm>
        </p:spPr>
        <p:txBody>
          <a:bodyPr anchor="b">
            <a:noAutofit/>
          </a:bodyPr>
          <a:lstStyle>
            <a:lvl1pPr>
              <a:defRPr sz="2800" b="1">
                <a:solidFill>
                  <a:schemeClr val="accent2"/>
                </a:solidFill>
              </a:defRPr>
            </a:lvl1pPr>
          </a:lstStyle>
          <a:p>
            <a:r>
              <a:rPr lang="en-US"/>
              <a:t>Page Title</a:t>
            </a:r>
          </a:p>
        </p:txBody>
      </p:sp>
      <p:sp>
        <p:nvSpPr>
          <p:cNvPr id="3" name="Text Placeholder 2"/>
          <p:cNvSpPr>
            <a:spLocks noGrp="1"/>
          </p:cNvSpPr>
          <p:nvPr>
            <p:ph type="body" idx="1" hasCustomPrompt="1"/>
          </p:nvPr>
        </p:nvSpPr>
        <p:spPr>
          <a:xfrm>
            <a:off x="342899" y="5488428"/>
            <a:ext cx="10931237" cy="968827"/>
          </a:xfrm>
        </p:spPr>
        <p:txBody>
          <a:bodyPr anchor="b">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Text</a:t>
            </a:r>
          </a:p>
        </p:txBody>
      </p:sp>
      <p:sp>
        <p:nvSpPr>
          <p:cNvPr id="14" name="Footer Placeholder 13">
            <a:extLst>
              <a:ext uri="{FF2B5EF4-FFF2-40B4-BE49-F238E27FC236}">
                <a16:creationId xmlns:a16="http://schemas.microsoft.com/office/drawing/2014/main" id="{4E02E6B1-B868-4C62-83E5-0578B165498E}"/>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11" name="Date Placeholder 10">
            <a:extLst>
              <a:ext uri="{FF2B5EF4-FFF2-40B4-BE49-F238E27FC236}">
                <a16:creationId xmlns:a16="http://schemas.microsoft.com/office/drawing/2014/main" id="{3AD762B0-D197-492C-A374-EFAC6D373F48}"/>
              </a:ext>
            </a:extLst>
          </p:cNvPr>
          <p:cNvSpPr>
            <a:spLocks noGrp="1"/>
          </p:cNvSpPr>
          <p:nvPr>
            <p:ph type="dt" sz="half" idx="14"/>
          </p:nvPr>
        </p:nvSpPr>
        <p:spPr/>
        <p:txBody>
          <a:bodyPr/>
          <a:lstStyle/>
          <a:p>
            <a:endParaRPr lang="en-US" dirty="0"/>
          </a:p>
        </p:txBody>
      </p:sp>
      <p:sp>
        <p:nvSpPr>
          <p:cNvPr id="15" name="Slide Number Placeholder 14">
            <a:extLst>
              <a:ext uri="{FF2B5EF4-FFF2-40B4-BE49-F238E27FC236}">
                <a16:creationId xmlns:a16="http://schemas.microsoft.com/office/drawing/2014/main" id="{BCAEC043-AB0D-476F-816B-541DB5AE310A}"/>
              </a:ext>
            </a:extLst>
          </p:cNvPr>
          <p:cNvSpPr>
            <a:spLocks noGrp="1"/>
          </p:cNvSpPr>
          <p:nvPr>
            <p:ph type="sldNum" sz="quarter" idx="16"/>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468208336"/>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_Custom Layout">
    <p:spTree>
      <p:nvGrpSpPr>
        <p:cNvPr id="1" name=""/>
        <p:cNvGrpSpPr/>
        <p:nvPr/>
      </p:nvGrpSpPr>
      <p:grpSpPr>
        <a:xfrm>
          <a:off x="0" y="0"/>
          <a:ext cx="0" cy="0"/>
          <a:chOff x="0" y="0"/>
          <a:chExt cx="0" cy="0"/>
        </a:xfrm>
      </p:grpSpPr>
      <p:sp>
        <p:nvSpPr>
          <p:cNvPr id="4" name="Rectangle: Diagonal Corners Snipped 3" descr="San Joaquin Viaduct">
            <a:extLst>
              <a:ext uri="{FF2B5EF4-FFF2-40B4-BE49-F238E27FC236}">
                <a16:creationId xmlns:a16="http://schemas.microsoft.com/office/drawing/2014/main" id="{0C975659-6380-4084-98A7-347396853060}"/>
              </a:ext>
            </a:extLst>
          </p:cNvPr>
          <p:cNvSpPr/>
          <p:nvPr/>
        </p:nvSpPr>
        <p:spPr>
          <a:xfrm>
            <a:off x="9199418" y="1650"/>
            <a:ext cx="2992582" cy="2194560"/>
          </a:xfrm>
          <a:prstGeom prst="snip2DiagRect">
            <a:avLst>
              <a:gd name="adj1" fmla="val 0"/>
              <a:gd name="adj2" fmla="val 30953"/>
            </a:avLst>
          </a:prstGeom>
          <a:blipFill>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24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Diagonal Corners Snipped 13" descr="Digital Rendering of a high-speed train">
            <a:extLst>
              <a:ext uri="{FF2B5EF4-FFF2-40B4-BE49-F238E27FC236}">
                <a16:creationId xmlns:a16="http://schemas.microsoft.com/office/drawing/2014/main" id="{199E85FC-7B2F-4EA0-975D-8F2AFBA2F40D}"/>
              </a:ext>
            </a:extLst>
          </p:cNvPr>
          <p:cNvSpPr/>
          <p:nvPr/>
        </p:nvSpPr>
        <p:spPr>
          <a:xfrm flipH="1">
            <a:off x="9199418" y="2158259"/>
            <a:ext cx="2992582" cy="2194560"/>
          </a:xfrm>
          <a:prstGeom prst="snip2DiagRect">
            <a:avLst>
              <a:gd name="adj1" fmla="val 0"/>
              <a:gd name="adj2" fmla="val 30953"/>
            </a:avLst>
          </a:prstGeom>
          <a:blipFill dpi="0" rotWithShape="0">
            <a:blip r:embed="rId4"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Diagonal Corners Snipped 14">
            <a:extLst>
              <a:ext uri="{FF2B5EF4-FFF2-40B4-BE49-F238E27FC236}">
                <a16:creationId xmlns:a16="http://schemas.microsoft.com/office/drawing/2014/main" id="{4B18FEE7-B836-4001-9735-441AD72D59FB}"/>
              </a:ext>
              <a:ext uri="{C183D7F6-B498-43B3-948B-1728B52AA6E4}">
                <adec:decorative xmlns:adec="http://schemas.microsoft.com/office/drawing/2017/decorative" xmlns="" val="1"/>
              </a:ext>
            </a:extLst>
          </p:cNvPr>
          <p:cNvSpPr/>
          <p:nvPr/>
        </p:nvSpPr>
        <p:spPr>
          <a:xfrm flipH="1" flipV="1">
            <a:off x="9199415" y="4346069"/>
            <a:ext cx="2992582" cy="2194560"/>
          </a:xfrm>
          <a:prstGeom prst="snip2DiagRect">
            <a:avLst>
              <a:gd name="adj1" fmla="val 0"/>
              <a:gd name="adj2" fmla="val 3095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CE04B9C-2015-4FD9-BD7A-61DE6EAE6A08}"/>
              </a:ext>
            </a:extLst>
          </p:cNvPr>
          <p:cNvSpPr>
            <a:spLocks noGrp="1"/>
          </p:cNvSpPr>
          <p:nvPr>
            <p:ph type="title" hasCustomPrompt="1"/>
          </p:nvPr>
        </p:nvSpPr>
        <p:spPr>
          <a:xfrm>
            <a:off x="609604" y="478965"/>
            <a:ext cx="7732293" cy="2680204"/>
          </a:xfrm>
        </p:spPr>
        <p:txBody>
          <a:bodyPr/>
          <a:lstStyle>
            <a:lvl1pPr>
              <a:defRPr b="0">
                <a:solidFill>
                  <a:schemeClr val="accent1"/>
                </a:solidFill>
              </a:defRPr>
            </a:lvl1pPr>
          </a:lstStyle>
          <a:p>
            <a:r>
              <a:rPr lang="en-US"/>
              <a:t>Section Transition Page - Title</a:t>
            </a:r>
          </a:p>
        </p:txBody>
      </p:sp>
      <p:sp>
        <p:nvSpPr>
          <p:cNvPr id="11" name="Text Placeholder 10">
            <a:extLst>
              <a:ext uri="{FF2B5EF4-FFF2-40B4-BE49-F238E27FC236}">
                <a16:creationId xmlns:a16="http://schemas.microsoft.com/office/drawing/2014/main" id="{DC8B7BC3-31CC-4720-A45E-4C90641587BF}"/>
              </a:ext>
            </a:extLst>
          </p:cNvPr>
          <p:cNvSpPr>
            <a:spLocks noGrp="1"/>
          </p:cNvSpPr>
          <p:nvPr>
            <p:ph type="body" sz="quarter" idx="13" hasCustomPrompt="1"/>
          </p:nvPr>
        </p:nvSpPr>
        <p:spPr>
          <a:xfrm>
            <a:off x="609603" y="3429001"/>
            <a:ext cx="7732295" cy="883118"/>
          </a:xfrm>
        </p:spPr>
        <p:txBody>
          <a:bodyPr anchor="b"/>
          <a:lstStyle>
            <a:lvl1pPr marL="0" indent="0">
              <a:buNone/>
              <a:defRPr>
                <a:solidFill>
                  <a:schemeClr val="accent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tion Subhead, talking points, etc.</a:t>
            </a:r>
          </a:p>
        </p:txBody>
      </p:sp>
      <p:sp>
        <p:nvSpPr>
          <p:cNvPr id="5" name="Footer Placeholder 4">
            <a:extLst>
              <a:ext uri="{FF2B5EF4-FFF2-40B4-BE49-F238E27FC236}">
                <a16:creationId xmlns:a16="http://schemas.microsoft.com/office/drawing/2014/main" id="{183AF501-4429-49FD-A826-221EDED648CB}"/>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3" name="Date Placeholder 2">
            <a:extLst>
              <a:ext uri="{FF2B5EF4-FFF2-40B4-BE49-F238E27FC236}">
                <a16:creationId xmlns:a16="http://schemas.microsoft.com/office/drawing/2014/main" id="{1B64F88A-E150-4049-9B1C-ABF7B9B938E5}"/>
              </a:ext>
            </a:extLst>
          </p:cNvPr>
          <p:cNvSpPr>
            <a:spLocks noGrp="1"/>
          </p:cNvSpPr>
          <p:nvPr>
            <p:ph type="dt" sz="half" idx="14"/>
          </p:nvPr>
        </p:nvSpPr>
        <p:spPr/>
        <p:txBody>
          <a:bodyPr/>
          <a:lstStyle/>
          <a:p>
            <a:fld id="{F5019F62-AE58-4437-8D82-E61F92F03977}" type="datetime1">
              <a:rPr lang="en-US" smtClean="0"/>
              <a:pPr/>
              <a:t>3/8/2024</a:t>
            </a:fld>
            <a:endParaRPr lang="en-US" dirty="0"/>
          </a:p>
        </p:txBody>
      </p:sp>
      <p:sp>
        <p:nvSpPr>
          <p:cNvPr id="6" name="Slide Number Placeholder 5">
            <a:extLst>
              <a:ext uri="{FF2B5EF4-FFF2-40B4-BE49-F238E27FC236}">
                <a16:creationId xmlns:a16="http://schemas.microsoft.com/office/drawing/2014/main" id="{C04C9FA4-B389-45B4-8A19-A914C39C9726}"/>
              </a:ext>
            </a:extLst>
          </p:cNvPr>
          <p:cNvSpPr>
            <a:spLocks noGrp="1"/>
          </p:cNvSpPr>
          <p:nvPr>
            <p:ph type="sldNum" sz="quarter" idx="16"/>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987096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Custom Layout">
    <p:bg>
      <p:bgPr>
        <a:solidFill>
          <a:schemeClr val="bg2">
            <a:tint val="95000"/>
            <a:satMod val="170000"/>
          </a:schemeClr>
        </a:solidFill>
        <a:effectLst/>
      </p:bgPr>
    </p:bg>
    <p:spTree>
      <p:nvGrpSpPr>
        <p:cNvPr id="1" name=""/>
        <p:cNvGrpSpPr/>
        <p:nvPr/>
      </p:nvGrpSpPr>
      <p:grpSpPr>
        <a:xfrm>
          <a:off x="0" y="0"/>
          <a:ext cx="0" cy="0"/>
          <a:chOff x="0" y="0"/>
          <a:chExt cx="0" cy="0"/>
        </a:xfrm>
      </p:grpSpPr>
      <p:pic>
        <p:nvPicPr>
          <p:cNvPr id="10" name="Content Placeholder 5" descr="A rendering of a high-speed train on tracks">
            <a:extLst>
              <a:ext uri="{FF2B5EF4-FFF2-40B4-BE49-F238E27FC236}">
                <a16:creationId xmlns:a16="http://schemas.microsoft.com/office/drawing/2014/main" id="{F63804FF-C5BE-4CAA-AA60-83749641857F}"/>
              </a:ext>
            </a:extLst>
          </p:cNvPr>
          <p:cNvPicPr>
            <a:picLocks noChangeAspect="1"/>
          </p:cNvPicPr>
          <p:nvPr/>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2000" contrast="53000"/>
                    </a14:imgEffect>
                  </a14:imgLayer>
                </a14:imgProps>
              </a:ext>
              <a:ext uri="{28A0092B-C50C-407E-A947-70E740481C1C}">
                <a14:useLocalDpi xmlns:a14="http://schemas.microsoft.com/office/drawing/2010/main"/>
              </a:ext>
            </a:extLst>
          </a:blip>
          <a:srcRect r="-159"/>
          <a:stretch/>
        </p:blipFill>
        <p:spPr>
          <a:xfrm>
            <a:off x="0" y="5"/>
            <a:ext cx="12339782" cy="6941128"/>
          </a:xfrm>
          <a:prstGeom prst="rect">
            <a:avLst/>
          </a:prstGeom>
        </p:spPr>
      </p:pic>
      <p:grpSp>
        <p:nvGrpSpPr>
          <p:cNvPr id="14" name="Group 13" descr="HSR Logo">
            <a:extLst>
              <a:ext uri="{FF2B5EF4-FFF2-40B4-BE49-F238E27FC236}">
                <a16:creationId xmlns:a16="http://schemas.microsoft.com/office/drawing/2014/main" id="{398E810C-1C71-4E5B-B41D-5249168B6939}"/>
              </a:ext>
            </a:extLst>
          </p:cNvPr>
          <p:cNvGrpSpPr/>
          <p:nvPr/>
        </p:nvGrpSpPr>
        <p:grpSpPr>
          <a:xfrm>
            <a:off x="210922" y="114300"/>
            <a:ext cx="2010225" cy="2010225"/>
            <a:chOff x="120233" y="0"/>
            <a:chExt cx="2011680" cy="2011680"/>
          </a:xfrm>
        </p:grpSpPr>
        <p:sp>
          <p:nvSpPr>
            <p:cNvPr id="17" name="Oval 16">
              <a:extLst>
                <a:ext uri="{FF2B5EF4-FFF2-40B4-BE49-F238E27FC236}">
                  <a16:creationId xmlns:a16="http://schemas.microsoft.com/office/drawing/2014/main" id="{A4CE87CB-F843-4685-A80B-A42E06B3A7F3}"/>
                </a:ext>
              </a:extLst>
            </p:cNvPr>
            <p:cNvSpPr/>
            <p:nvPr/>
          </p:nvSpPr>
          <p:spPr>
            <a:xfrm>
              <a:off x="120233" y="0"/>
              <a:ext cx="2011680" cy="2011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17" descr="Logo, company name&#10;&#10;Description automatically generated">
              <a:extLst>
                <a:ext uri="{FF2B5EF4-FFF2-40B4-BE49-F238E27FC236}">
                  <a16:creationId xmlns:a16="http://schemas.microsoft.com/office/drawing/2014/main" id="{A66AB708-CE91-4909-B95F-C695EE898B4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3473" y="0"/>
              <a:ext cx="2008440" cy="1946959"/>
            </a:xfrm>
            <a:prstGeom prst="rect">
              <a:avLst/>
            </a:prstGeom>
            <a:effectLst>
              <a:glow rad="63500">
                <a:schemeClr val="accent3">
                  <a:satMod val="175000"/>
                  <a:alpha val="40000"/>
                </a:schemeClr>
              </a:glow>
            </a:effectLst>
          </p:spPr>
        </p:pic>
      </p:grpSp>
      <p:sp>
        <p:nvSpPr>
          <p:cNvPr id="2" name="Title 1">
            <a:extLst>
              <a:ext uri="{FF2B5EF4-FFF2-40B4-BE49-F238E27FC236}">
                <a16:creationId xmlns:a16="http://schemas.microsoft.com/office/drawing/2014/main" id="{2CE04B9C-2015-4FD9-BD7A-61DE6EAE6A08}"/>
              </a:ext>
            </a:extLst>
          </p:cNvPr>
          <p:cNvSpPr>
            <a:spLocks noGrp="1"/>
          </p:cNvSpPr>
          <p:nvPr>
            <p:ph type="title" hasCustomPrompt="1"/>
          </p:nvPr>
        </p:nvSpPr>
        <p:spPr>
          <a:xfrm>
            <a:off x="6066098" y="478964"/>
            <a:ext cx="5516305" cy="3853550"/>
          </a:xfrm>
        </p:spPr>
        <p:txBody>
          <a:bodyPr/>
          <a:lstStyle>
            <a:lvl1pPr>
              <a:defRPr b="1">
                <a:solidFill>
                  <a:schemeClr val="bg1"/>
                </a:solidFill>
              </a:defRPr>
            </a:lvl1pPr>
          </a:lstStyle>
          <a:p>
            <a:r>
              <a:rPr lang="en-US"/>
              <a:t>Section Transition Page - Title</a:t>
            </a:r>
          </a:p>
        </p:txBody>
      </p:sp>
      <p:sp>
        <p:nvSpPr>
          <p:cNvPr id="11" name="Text Placeholder 10">
            <a:extLst>
              <a:ext uri="{FF2B5EF4-FFF2-40B4-BE49-F238E27FC236}">
                <a16:creationId xmlns:a16="http://schemas.microsoft.com/office/drawing/2014/main" id="{DC8B7BC3-31CC-4720-A45E-4C90641587BF}"/>
              </a:ext>
            </a:extLst>
          </p:cNvPr>
          <p:cNvSpPr>
            <a:spLocks noGrp="1"/>
          </p:cNvSpPr>
          <p:nvPr>
            <p:ph type="body" sz="quarter" idx="13" hasCustomPrompt="1"/>
          </p:nvPr>
        </p:nvSpPr>
        <p:spPr>
          <a:xfrm>
            <a:off x="6066097" y="4441371"/>
            <a:ext cx="5516307" cy="1204420"/>
          </a:xfrm>
        </p:spPr>
        <p:txBody>
          <a:bodyPr anchor="b"/>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tion Subhead, talking points, etc.</a:t>
            </a:r>
          </a:p>
        </p:txBody>
      </p:sp>
      <p:sp>
        <p:nvSpPr>
          <p:cNvPr id="8" name="Footer Placeholder 7">
            <a:extLst>
              <a:ext uri="{FF2B5EF4-FFF2-40B4-BE49-F238E27FC236}">
                <a16:creationId xmlns:a16="http://schemas.microsoft.com/office/drawing/2014/main" id="{8AF3C2A7-3FC4-4E28-93B0-1D717BD98576}"/>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7" name="Date Placeholder 6">
            <a:extLst>
              <a:ext uri="{FF2B5EF4-FFF2-40B4-BE49-F238E27FC236}">
                <a16:creationId xmlns:a16="http://schemas.microsoft.com/office/drawing/2014/main" id="{BA2360B1-31C0-4201-983D-B8BC1832C5A4}"/>
              </a:ext>
            </a:extLst>
          </p:cNvPr>
          <p:cNvSpPr>
            <a:spLocks noGrp="1"/>
          </p:cNvSpPr>
          <p:nvPr>
            <p:ph type="dt" sz="half" idx="14"/>
          </p:nvPr>
        </p:nvSpPr>
        <p:spPr/>
        <p:txBody>
          <a:bodyPr/>
          <a:lstStyle/>
          <a:p>
            <a:endParaRPr lang="en-US" dirty="0"/>
          </a:p>
        </p:txBody>
      </p:sp>
      <p:sp>
        <p:nvSpPr>
          <p:cNvPr id="9" name="Slide Number Placeholder 8">
            <a:extLst>
              <a:ext uri="{FF2B5EF4-FFF2-40B4-BE49-F238E27FC236}">
                <a16:creationId xmlns:a16="http://schemas.microsoft.com/office/drawing/2014/main" id="{DE14DF75-013B-472B-B684-E196A5887032}"/>
              </a:ext>
            </a:extLst>
          </p:cNvPr>
          <p:cNvSpPr>
            <a:spLocks noGrp="1"/>
          </p:cNvSpPr>
          <p:nvPr>
            <p:ph type="sldNum" sz="quarter" idx="16"/>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06175737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BA72A-F7CF-4422-0E89-D43F121705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70B645-2F61-7F2D-DA07-DEC3548486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324967-DC99-1A5F-64CC-07F400945A9F}"/>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E7F9F3C9-1B25-41E7-EAF6-F36A9E7CBCD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7CEB948-0B50-69A7-843A-A551620954E9}"/>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3959713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_Section Hea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Content Placeholder 5" descr="A rendering of a high-speed train on tracks">
            <a:extLst>
              <a:ext uri="{FF2B5EF4-FFF2-40B4-BE49-F238E27FC236}">
                <a16:creationId xmlns:a16="http://schemas.microsoft.com/office/drawing/2014/main" id="{7322D3B3-481D-4C3D-95E1-572A86A852C6}"/>
              </a:ext>
            </a:extLst>
          </p:cNvPr>
          <p:cNvPicPr>
            <a:picLocks noChangeAspect="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42000" contrast="53000"/>
                    </a14:imgEffect>
                  </a14:imgLayer>
                </a14:imgProps>
              </a:ext>
              <a:ext uri="{28A0092B-C50C-407E-A947-70E740481C1C}">
                <a14:useLocalDpi xmlns:a14="http://schemas.microsoft.com/office/drawing/2010/main"/>
              </a:ext>
            </a:extLst>
          </a:blip>
          <a:srcRect/>
          <a:stretch/>
        </p:blipFill>
        <p:spPr>
          <a:xfrm>
            <a:off x="3" y="-1"/>
            <a:ext cx="5749255" cy="6858001"/>
          </a:xfrm>
          <a:prstGeom prst="rect">
            <a:avLst/>
          </a:prstGeom>
        </p:spPr>
      </p:pic>
      <p:pic>
        <p:nvPicPr>
          <p:cNvPr id="13" name="Graphic 12" descr="HSR Logo">
            <a:extLst>
              <a:ext uri="{FF2B5EF4-FFF2-40B4-BE49-F238E27FC236}">
                <a16:creationId xmlns:a16="http://schemas.microsoft.com/office/drawing/2014/main" id="{258A25AF-381E-4237-ACEA-39339775F724}"/>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a:off x="1417330" y="1129840"/>
            <a:ext cx="3040853" cy="577038"/>
          </a:xfrm>
          <a:prstGeom prst="rect">
            <a:avLst/>
          </a:prstGeom>
        </p:spPr>
      </p:pic>
      <p:sp>
        <p:nvSpPr>
          <p:cNvPr id="2" name="Title 1"/>
          <p:cNvSpPr>
            <a:spLocks noGrp="1"/>
          </p:cNvSpPr>
          <p:nvPr>
            <p:ph type="title" hasCustomPrompt="1"/>
          </p:nvPr>
        </p:nvSpPr>
        <p:spPr>
          <a:xfrm>
            <a:off x="609601" y="1129840"/>
            <a:ext cx="4627283" cy="3300646"/>
          </a:xfrm>
        </p:spPr>
        <p:txBody>
          <a:bodyPr anchor="b">
            <a:normAutofit/>
          </a:bodyPr>
          <a:lstStyle>
            <a:lvl1pPr>
              <a:defRPr sz="4000" b="1">
                <a:solidFill>
                  <a:schemeClr val="bg2"/>
                </a:solidFill>
              </a:defRPr>
            </a:lvl1pPr>
          </a:lstStyle>
          <a:p>
            <a:r>
              <a:rPr lang="en-US"/>
              <a:t>Section Header Title</a:t>
            </a:r>
          </a:p>
        </p:txBody>
      </p:sp>
      <p:sp>
        <p:nvSpPr>
          <p:cNvPr id="10" name="Picture Placeholder 9">
            <a:extLst>
              <a:ext uri="{FF2B5EF4-FFF2-40B4-BE49-F238E27FC236}">
                <a16:creationId xmlns:a16="http://schemas.microsoft.com/office/drawing/2014/main" id="{13FD5F35-2B51-48E2-95C0-17288ACB2C0A}"/>
              </a:ext>
            </a:extLst>
          </p:cNvPr>
          <p:cNvSpPr>
            <a:spLocks noGrp="1"/>
          </p:cNvSpPr>
          <p:nvPr>
            <p:ph type="pic" sz="quarter" idx="13"/>
          </p:nvPr>
        </p:nvSpPr>
        <p:spPr>
          <a:xfrm>
            <a:off x="5941887" y="0"/>
            <a:ext cx="6250116" cy="4203700"/>
          </a:xfrm>
        </p:spPr>
        <p:txBody>
          <a:bodyPr/>
          <a:lstStyle/>
          <a:p>
            <a:r>
              <a:rPr lang="en-US" dirty="0"/>
              <a:t>Click icon to add picture</a:t>
            </a:r>
          </a:p>
        </p:txBody>
      </p:sp>
      <p:sp>
        <p:nvSpPr>
          <p:cNvPr id="3" name="Text Placeholder 2"/>
          <p:cNvSpPr>
            <a:spLocks noGrp="1"/>
          </p:cNvSpPr>
          <p:nvPr>
            <p:ph type="body" idx="1" hasCustomPrompt="1"/>
          </p:nvPr>
        </p:nvSpPr>
        <p:spPr>
          <a:xfrm>
            <a:off x="5941884" y="4321633"/>
            <a:ext cx="6017888" cy="2155371"/>
          </a:xfrm>
        </p:spPr>
        <p:txBody>
          <a:bodyPr anchor="t"/>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err="1"/>
              <a:t>Subheader</a:t>
            </a:r>
            <a:r>
              <a:rPr lang="en-US"/>
              <a:t>, Talking Points, Etc.</a:t>
            </a:r>
          </a:p>
        </p:txBody>
      </p:sp>
      <p:sp>
        <p:nvSpPr>
          <p:cNvPr id="9" name="Footer Placeholder 8">
            <a:extLst>
              <a:ext uri="{FF2B5EF4-FFF2-40B4-BE49-F238E27FC236}">
                <a16:creationId xmlns:a16="http://schemas.microsoft.com/office/drawing/2014/main" id="{CF829D90-D336-4AC3-BDBD-B0EF4BEB7E41}"/>
              </a:ext>
            </a:extLst>
          </p:cNvPr>
          <p:cNvSpPr>
            <a:spLocks noGrp="1"/>
          </p:cNvSpPr>
          <p:nvPr>
            <p:ph type="ftr" sz="quarter" idx="15"/>
          </p:nvPr>
        </p:nvSpPr>
        <p:spPr>
          <a:xfrm>
            <a:off x="6096000" y="6572414"/>
            <a:ext cx="4167760" cy="217390"/>
          </a:xfrm>
        </p:spPr>
        <p:txBody>
          <a:bodyPr/>
          <a:lstStyle>
            <a:lvl1pPr>
              <a:defRPr>
                <a:solidFill>
                  <a:schemeClr val="tx1"/>
                </a:solidFill>
              </a:defRPr>
            </a:lvl1pPr>
          </a:lstStyle>
          <a:p>
            <a:r>
              <a:rPr lang="en-US" dirty="0"/>
              <a:t>Main title of PowerPoint – To edit search Master Slide and click on slide 1 </a:t>
            </a:r>
          </a:p>
        </p:txBody>
      </p:sp>
      <p:sp>
        <p:nvSpPr>
          <p:cNvPr id="7" name="Date Placeholder 6">
            <a:extLst>
              <a:ext uri="{FF2B5EF4-FFF2-40B4-BE49-F238E27FC236}">
                <a16:creationId xmlns:a16="http://schemas.microsoft.com/office/drawing/2014/main" id="{984B8B2F-FCB4-41F1-8C4F-014FDB42CD98}"/>
              </a:ext>
            </a:extLst>
          </p:cNvPr>
          <p:cNvSpPr>
            <a:spLocks noGrp="1"/>
          </p:cNvSpPr>
          <p:nvPr>
            <p:ph type="dt" sz="half" idx="14"/>
          </p:nvPr>
        </p:nvSpPr>
        <p:spPr/>
        <p:txBody>
          <a:bodyPr/>
          <a:lstStyle>
            <a:lvl1pPr>
              <a:defRPr>
                <a:solidFill>
                  <a:schemeClr val="tx1"/>
                </a:solidFill>
              </a:defRPr>
            </a:lvl1pPr>
          </a:lstStyle>
          <a:p>
            <a:fld id="{F5019F62-AE58-4437-8D82-E61F92F03977}" type="datetime1">
              <a:rPr lang="en-US" smtClean="0"/>
              <a:pPr/>
              <a:t>3/8/2024</a:t>
            </a:fld>
            <a:endParaRPr lang="en-US" dirty="0"/>
          </a:p>
        </p:txBody>
      </p:sp>
      <p:sp>
        <p:nvSpPr>
          <p:cNvPr id="12" name="Slide Number Placeholder 11">
            <a:extLst>
              <a:ext uri="{FF2B5EF4-FFF2-40B4-BE49-F238E27FC236}">
                <a16:creationId xmlns:a16="http://schemas.microsoft.com/office/drawing/2014/main" id="{9D10AEE1-B308-41EA-8D0F-8FAB6AEFD25E}"/>
              </a:ext>
            </a:extLst>
          </p:cNvPr>
          <p:cNvSpPr>
            <a:spLocks noGrp="1"/>
          </p:cNvSpPr>
          <p:nvPr>
            <p:ph type="sldNum" sz="quarter" idx="16"/>
          </p:nvPr>
        </p:nvSpPr>
        <p:spPr/>
        <p:txBody>
          <a:bodyPr/>
          <a:lstStyle>
            <a:lvl1pPr>
              <a:defRPr>
                <a:solidFill>
                  <a:schemeClr val="tx1"/>
                </a:solidFill>
              </a:defRPr>
            </a:lvl1p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41235100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bg1"/>
        </a:solidFill>
        <a:effectLst/>
      </p:bgPr>
    </p:bg>
    <p:spTree>
      <p:nvGrpSpPr>
        <p:cNvPr id="1" name=""/>
        <p:cNvGrpSpPr/>
        <p:nvPr/>
      </p:nvGrpSpPr>
      <p:grpSpPr>
        <a:xfrm>
          <a:off x="0" y="0"/>
          <a:ext cx="0" cy="0"/>
          <a:chOff x="0" y="0"/>
          <a:chExt cx="0" cy="0"/>
        </a:xfrm>
      </p:grpSpPr>
      <p:pic>
        <p:nvPicPr>
          <p:cNvPr id="12" name="Content Placeholder 5" descr="A rendering of a high-speed train on tracks">
            <a:extLst>
              <a:ext uri="{FF2B5EF4-FFF2-40B4-BE49-F238E27FC236}">
                <a16:creationId xmlns:a16="http://schemas.microsoft.com/office/drawing/2014/main" id="{7D822D03-74A0-4566-BCE1-D9F2C63D7A35}"/>
              </a:ext>
            </a:extLst>
          </p:cNvPr>
          <p:cNvPicPr>
            <a:picLocks noChangeAspect="1"/>
          </p:cNvPicPr>
          <p:nvPr/>
        </p:nvPicPr>
        <p:blipFill rotWithShape="1">
          <a:blip r:embed="rId2" cstate="email">
            <a:duotone>
              <a:schemeClr val="accent1">
                <a:shade val="45000"/>
                <a:satMod val="135000"/>
              </a:schemeClr>
              <a:prstClr val="white"/>
            </a:duotone>
            <a:extLst>
              <a:ext uri="{BEBA8EAE-BF5A-486C-A8C5-ECC9F3942E4B}">
                <a14:imgProps xmlns:a14="http://schemas.microsoft.com/office/drawing/2010/main">
                  <a14:imgLayer r:embed="rId3">
                    <a14:imgEffect>
                      <a14:brightnessContrast bright="-42000" contrast="53000"/>
                    </a14:imgEffect>
                  </a14:imgLayer>
                </a14:imgProps>
              </a:ext>
              <a:ext uri="{28A0092B-C50C-407E-A947-70E740481C1C}">
                <a14:useLocalDpi xmlns:a14="http://schemas.microsoft.com/office/drawing/2010/main"/>
              </a:ext>
            </a:extLst>
          </a:blip>
          <a:srcRect r="-159"/>
          <a:stretch/>
        </p:blipFill>
        <p:spPr>
          <a:xfrm>
            <a:off x="0" y="5"/>
            <a:ext cx="12339782" cy="6941128"/>
          </a:xfrm>
          <a:prstGeom prst="rect">
            <a:avLst/>
          </a:prstGeom>
        </p:spPr>
      </p:pic>
      <p:pic>
        <p:nvPicPr>
          <p:cNvPr id="8" name="Graphic 7" descr="HSR Logo">
            <a:extLst>
              <a:ext uri="{FF2B5EF4-FFF2-40B4-BE49-F238E27FC236}">
                <a16:creationId xmlns:a16="http://schemas.microsoft.com/office/drawing/2014/main" id="{B98A8C14-57B3-42D3-ADBE-FD2290D6D7D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1417330" y="1129840"/>
            <a:ext cx="3040853" cy="577038"/>
          </a:xfrm>
          <a:prstGeom prst="rect">
            <a:avLst/>
          </a:prstGeom>
        </p:spPr>
      </p:pic>
      <p:sp>
        <p:nvSpPr>
          <p:cNvPr id="2" name="Title 1"/>
          <p:cNvSpPr>
            <a:spLocks noGrp="1"/>
          </p:cNvSpPr>
          <p:nvPr>
            <p:ph type="title" hasCustomPrompt="1"/>
          </p:nvPr>
        </p:nvSpPr>
        <p:spPr>
          <a:xfrm>
            <a:off x="609601" y="1129840"/>
            <a:ext cx="4656312" cy="4889960"/>
          </a:xfrm>
        </p:spPr>
        <p:txBody>
          <a:bodyPr anchor="b">
            <a:normAutofit/>
          </a:bodyPr>
          <a:lstStyle>
            <a:lvl1pPr>
              <a:defRPr sz="3600">
                <a:solidFill>
                  <a:schemeClr val="bg2"/>
                </a:solidFill>
              </a:defRPr>
            </a:lvl1pPr>
          </a:lstStyle>
          <a:p>
            <a:r>
              <a:rPr lang="en-US"/>
              <a:t>Section Title</a:t>
            </a:r>
          </a:p>
        </p:txBody>
      </p:sp>
      <p:sp>
        <p:nvSpPr>
          <p:cNvPr id="3" name="Text Placeholder 2"/>
          <p:cNvSpPr>
            <a:spLocks noGrp="1"/>
          </p:cNvSpPr>
          <p:nvPr>
            <p:ph type="body" idx="1" hasCustomPrompt="1"/>
          </p:nvPr>
        </p:nvSpPr>
        <p:spPr>
          <a:xfrm>
            <a:off x="6081487" y="4321629"/>
            <a:ext cx="5326432" cy="1698172"/>
          </a:xfrm>
        </p:spPr>
        <p:txBody>
          <a:bodyPr anchor="b"/>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a:t>
            </a:r>
            <a:r>
              <a:rPr lang="en-US" err="1"/>
              <a:t>Subheader</a:t>
            </a:r>
            <a:r>
              <a:rPr lang="en-US"/>
              <a:t>, talking points, etc.</a:t>
            </a:r>
          </a:p>
        </p:txBody>
      </p:sp>
      <p:sp>
        <p:nvSpPr>
          <p:cNvPr id="5" name="Footer Placeholder 4">
            <a:extLst>
              <a:ext uri="{FF2B5EF4-FFF2-40B4-BE49-F238E27FC236}">
                <a16:creationId xmlns:a16="http://schemas.microsoft.com/office/drawing/2014/main" id="{3CBD2430-771F-4DAF-87EA-A91429C52BF9}"/>
              </a:ext>
            </a:extLst>
          </p:cNvPr>
          <p:cNvSpPr>
            <a:spLocks noGrp="1"/>
          </p:cNvSpPr>
          <p:nvPr>
            <p:ph type="ftr" sz="quarter" idx="11"/>
          </p:nvPr>
        </p:nvSpPr>
        <p:spPr/>
        <p:txBody>
          <a:bodyPr/>
          <a:lstStyle/>
          <a:p>
            <a:r>
              <a:rPr lang="en-US" dirty="0"/>
              <a:t>Main title of PowerPoint – To edit search Master Slide and click on slide 1 </a:t>
            </a:r>
          </a:p>
        </p:txBody>
      </p:sp>
      <p:sp>
        <p:nvSpPr>
          <p:cNvPr id="4" name="Date Placeholder 3">
            <a:extLst>
              <a:ext uri="{FF2B5EF4-FFF2-40B4-BE49-F238E27FC236}">
                <a16:creationId xmlns:a16="http://schemas.microsoft.com/office/drawing/2014/main" id="{17D9BABF-FABF-4976-A00A-CACBB6F09488}"/>
              </a:ext>
            </a:extLst>
          </p:cNvPr>
          <p:cNvSpPr>
            <a:spLocks noGrp="1"/>
          </p:cNvSpPr>
          <p:nvPr>
            <p:ph type="dt" sz="half" idx="10"/>
          </p:nvPr>
        </p:nvSpPr>
        <p:spPr/>
        <p:txBody>
          <a:bodyPr/>
          <a:lstStyle/>
          <a:p>
            <a:fld id="{F5019F62-AE58-4437-8D82-E61F92F03977}" type="datetime1">
              <a:rPr lang="en-US" smtClean="0"/>
              <a:pPr/>
              <a:t>3/8/2024</a:t>
            </a:fld>
            <a:endParaRPr lang="en-US" dirty="0"/>
          </a:p>
        </p:txBody>
      </p:sp>
      <p:sp>
        <p:nvSpPr>
          <p:cNvPr id="6" name="Slide Number Placeholder 5">
            <a:extLst>
              <a:ext uri="{FF2B5EF4-FFF2-40B4-BE49-F238E27FC236}">
                <a16:creationId xmlns:a16="http://schemas.microsoft.com/office/drawing/2014/main" id="{C6DC1A61-F7F5-448E-99F7-8356D311512D}"/>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9475226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F61DD456-0015-47D3-920E-5D56417EE4F4}"/>
              </a:ext>
            </a:extLst>
          </p:cNvPr>
          <p:cNvPicPr>
            <a:picLocks noChangeAspect="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a:ext>
            </a:extLst>
          </a:blip>
          <a:srcRect l="-42" b="-771"/>
          <a:stretch/>
        </p:blipFill>
        <p:spPr>
          <a:xfrm>
            <a:off x="-5149" y="-72353"/>
            <a:ext cx="12197149" cy="6634018"/>
          </a:xfrm>
          <a:prstGeom prst="rect">
            <a:avLst/>
          </a:prstGeom>
        </p:spPr>
      </p:pic>
      <p:sp>
        <p:nvSpPr>
          <p:cNvPr id="28" name="Rectangle: Diagonal Corners Snipped 27">
            <a:extLst>
              <a:ext uri="{FF2B5EF4-FFF2-40B4-BE49-F238E27FC236}">
                <a16:creationId xmlns:a16="http://schemas.microsoft.com/office/drawing/2014/main" id="{499A2BEA-B3F4-4E21-9997-AAB609088FEC}"/>
              </a:ext>
            </a:extLst>
          </p:cNvPr>
          <p:cNvSpPr/>
          <p:nvPr/>
        </p:nvSpPr>
        <p:spPr>
          <a:xfrm flipH="1" flipV="1">
            <a:off x="3" y="5"/>
            <a:ext cx="8624236" cy="4581625"/>
          </a:xfrm>
          <a:prstGeom prst="snip2DiagRect">
            <a:avLst>
              <a:gd name="adj1" fmla="val 0"/>
              <a:gd name="adj2" fmla="val 14084"/>
            </a:avLst>
          </a:pr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2CE04B9C-2015-4FD9-BD7A-61DE6EAE6A08}"/>
              </a:ext>
            </a:extLst>
          </p:cNvPr>
          <p:cNvSpPr>
            <a:spLocks noGrp="1"/>
          </p:cNvSpPr>
          <p:nvPr>
            <p:ph type="title" hasCustomPrompt="1"/>
          </p:nvPr>
        </p:nvSpPr>
        <p:spPr>
          <a:xfrm>
            <a:off x="960970" y="478965"/>
            <a:ext cx="7380927" cy="2680204"/>
          </a:xfrm>
        </p:spPr>
        <p:txBody>
          <a:bodyPr/>
          <a:lstStyle>
            <a:lvl1pPr>
              <a:defRPr b="0">
                <a:solidFill>
                  <a:schemeClr val="bg1"/>
                </a:solidFill>
              </a:defRPr>
            </a:lvl1pPr>
          </a:lstStyle>
          <a:p>
            <a:r>
              <a:rPr lang="en-US"/>
              <a:t>Section Transition Page -Title</a:t>
            </a:r>
          </a:p>
        </p:txBody>
      </p:sp>
      <p:sp>
        <p:nvSpPr>
          <p:cNvPr id="11" name="Text Placeholder 10">
            <a:extLst>
              <a:ext uri="{FF2B5EF4-FFF2-40B4-BE49-F238E27FC236}">
                <a16:creationId xmlns:a16="http://schemas.microsoft.com/office/drawing/2014/main" id="{DC8B7BC3-31CC-4720-A45E-4C90641587BF}"/>
              </a:ext>
            </a:extLst>
          </p:cNvPr>
          <p:cNvSpPr>
            <a:spLocks noGrp="1"/>
          </p:cNvSpPr>
          <p:nvPr>
            <p:ph type="body" sz="quarter" idx="13" hasCustomPrompt="1"/>
          </p:nvPr>
        </p:nvSpPr>
        <p:spPr>
          <a:xfrm>
            <a:off x="960967" y="3429001"/>
            <a:ext cx="7380928" cy="883118"/>
          </a:xfrm>
        </p:spPr>
        <p:txBody>
          <a:bodyPr anchor="b"/>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tion Subhead, talking points, etc.</a:t>
            </a:r>
          </a:p>
        </p:txBody>
      </p:sp>
      <p:sp>
        <p:nvSpPr>
          <p:cNvPr id="3" name="Date Placeholder 2">
            <a:extLst>
              <a:ext uri="{FF2B5EF4-FFF2-40B4-BE49-F238E27FC236}">
                <a16:creationId xmlns:a16="http://schemas.microsoft.com/office/drawing/2014/main" id="{84627697-3035-4C50-8E84-3072CE3C96A5}"/>
              </a:ext>
            </a:extLst>
          </p:cNvPr>
          <p:cNvSpPr>
            <a:spLocks noGrp="1"/>
          </p:cNvSpPr>
          <p:nvPr>
            <p:ph type="dt" sz="half" idx="14"/>
          </p:nvPr>
        </p:nvSpPr>
        <p:spPr/>
        <p:txBody>
          <a:bodyPr/>
          <a:lstStyle/>
          <a:p>
            <a:fld id="{F5019F62-AE58-4437-8D82-E61F92F03977}" type="datetime1">
              <a:rPr lang="en-US" smtClean="0"/>
              <a:pPr/>
              <a:t>3/8/2024</a:t>
            </a:fld>
            <a:endParaRPr lang="en-US" dirty="0"/>
          </a:p>
        </p:txBody>
      </p:sp>
      <p:sp>
        <p:nvSpPr>
          <p:cNvPr id="4" name="Footer Placeholder 3">
            <a:extLst>
              <a:ext uri="{FF2B5EF4-FFF2-40B4-BE49-F238E27FC236}">
                <a16:creationId xmlns:a16="http://schemas.microsoft.com/office/drawing/2014/main" id="{F454E65A-0934-45F5-BB53-CEE0654EAEDD}"/>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5" name="Slide Number Placeholder 4">
            <a:extLst>
              <a:ext uri="{FF2B5EF4-FFF2-40B4-BE49-F238E27FC236}">
                <a16:creationId xmlns:a16="http://schemas.microsoft.com/office/drawing/2014/main" id="{AD4ED9B5-CDEE-4C88-BCE6-19D0A0825B8C}"/>
              </a:ext>
            </a:extLst>
          </p:cNvPr>
          <p:cNvSpPr>
            <a:spLocks noGrp="1"/>
          </p:cNvSpPr>
          <p:nvPr>
            <p:ph type="sldNum" sz="quarter" idx="16"/>
          </p:nvPr>
        </p:nvSpPr>
        <p:spPr/>
        <p:txBody>
          <a:bodyPr/>
          <a:lstStyle/>
          <a:p>
            <a:fld id="{9F845ACB-6A9C-4D80-856D-F33308202576}" type="slidenum">
              <a:rPr lang="en-US" smtClean="0"/>
              <a:pPr/>
              <a:t>‹#›</a:t>
            </a:fld>
            <a:endParaRPr lang="en-US" dirty="0"/>
          </a:p>
        </p:txBody>
      </p:sp>
      <p:grpSp>
        <p:nvGrpSpPr>
          <p:cNvPr id="7" name="Group 6">
            <a:extLst>
              <a:ext uri="{FF2B5EF4-FFF2-40B4-BE49-F238E27FC236}">
                <a16:creationId xmlns:a16="http://schemas.microsoft.com/office/drawing/2014/main" id="{F188DD39-840D-436C-97CA-A2FD277E7B6C}"/>
              </a:ext>
            </a:extLst>
          </p:cNvPr>
          <p:cNvGrpSpPr/>
          <p:nvPr/>
        </p:nvGrpSpPr>
        <p:grpSpPr>
          <a:xfrm>
            <a:off x="129660" y="209133"/>
            <a:ext cx="963849" cy="963849"/>
            <a:chOff x="120233" y="0"/>
            <a:chExt cx="2011680" cy="2011680"/>
          </a:xfrm>
        </p:grpSpPr>
        <p:sp>
          <p:nvSpPr>
            <p:cNvPr id="17" name="Oval 16">
              <a:extLst>
                <a:ext uri="{FF2B5EF4-FFF2-40B4-BE49-F238E27FC236}">
                  <a16:creationId xmlns:a16="http://schemas.microsoft.com/office/drawing/2014/main" id="{5334FD29-8742-48FC-800A-AA862D1BBB57}"/>
                </a:ext>
              </a:extLst>
            </p:cNvPr>
            <p:cNvSpPr/>
            <p:nvPr/>
          </p:nvSpPr>
          <p:spPr>
            <a:xfrm>
              <a:off x="120233" y="0"/>
              <a:ext cx="2011680" cy="20116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17" descr="Logo, company name&#10;&#10;Description automatically generated">
              <a:extLst>
                <a:ext uri="{FF2B5EF4-FFF2-40B4-BE49-F238E27FC236}">
                  <a16:creationId xmlns:a16="http://schemas.microsoft.com/office/drawing/2014/main" id="{7BBFAB0A-579D-409C-9706-48AC765660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3473" y="0"/>
              <a:ext cx="2008440" cy="1946959"/>
            </a:xfrm>
            <a:prstGeom prst="rect">
              <a:avLst/>
            </a:prstGeom>
            <a:effectLst>
              <a:glow rad="63500">
                <a:schemeClr val="accent3">
                  <a:satMod val="175000"/>
                  <a:alpha val="40000"/>
                </a:schemeClr>
              </a:glow>
            </a:effectLst>
          </p:spPr>
        </p:pic>
      </p:grpSp>
    </p:spTree>
    <p:extLst>
      <p:ext uri="{BB962C8B-B14F-4D97-AF65-F5344CB8AC3E}">
        <p14:creationId xmlns:p14="http://schemas.microsoft.com/office/powerpoint/2010/main" val="8168049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2024 Draft Business Plan Update</a:t>
            </a:r>
          </a:p>
        </p:txBody>
      </p:sp>
      <p:sp>
        <p:nvSpPr>
          <p:cNvPr id="4" name="Date Placeholder 3"/>
          <p:cNvSpPr>
            <a:spLocks noGrp="1"/>
          </p:cNvSpPr>
          <p:nvPr>
            <p:ph type="dt" sz="half" idx="10"/>
          </p:nvPr>
        </p:nvSpPr>
        <p:spPr/>
        <p:txBody>
          <a:bodyPr/>
          <a:lstStyle/>
          <a:p>
            <a:fld id="{F5019F62-AE58-4437-8D82-E61F92F03977}" type="datetime1">
              <a:rPr lang="en-US" smtClean="0"/>
              <a:pPr/>
              <a:t>3/8/2024</a:t>
            </a:fld>
            <a:endParaRPr lang="en-US" dirty="0"/>
          </a:p>
        </p:txBody>
      </p:sp>
      <p:sp>
        <p:nvSpPr>
          <p:cNvPr id="6" name="Slide Number Placeholder 5"/>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20223249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2900" y="1066800"/>
            <a:ext cx="5676900" cy="511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199" y="1066800"/>
            <a:ext cx="5638801" cy="5110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Main title of PowerPoint – To edit search Master Slide and click on slide 1 </a:t>
            </a:r>
          </a:p>
        </p:txBody>
      </p:sp>
      <p:sp>
        <p:nvSpPr>
          <p:cNvPr id="5" name="Date Placeholder 4"/>
          <p:cNvSpPr>
            <a:spLocks noGrp="1"/>
          </p:cNvSpPr>
          <p:nvPr>
            <p:ph type="dt" sz="half" idx="10"/>
          </p:nvPr>
        </p:nvSpPr>
        <p:spPr/>
        <p:txBody>
          <a:bodyPr/>
          <a:lstStyle/>
          <a:p>
            <a:fld id="{F5019F62-AE58-4437-8D82-E61F92F03977}" type="datetime1">
              <a:rPr lang="en-US" smtClean="0"/>
              <a:pPr/>
              <a:t>3/8/2024</a:t>
            </a:fld>
            <a:endParaRPr lang="en-US" dirty="0"/>
          </a:p>
        </p:txBody>
      </p:sp>
      <p:sp>
        <p:nvSpPr>
          <p:cNvPr id="7" name="Slide Number Placeholder 6"/>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481598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3C58E58-9F74-44E1-BEEB-8187B9605030}"/>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42900" y="1080804"/>
            <a:ext cx="56546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2900" y="2050338"/>
            <a:ext cx="5654675" cy="413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080804"/>
            <a:ext cx="56388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050338"/>
            <a:ext cx="5638800" cy="41393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dirty="0"/>
              <a:t>Main title of PowerPoint – To edit search Master Slide and click on slide 1 </a:t>
            </a:r>
          </a:p>
        </p:txBody>
      </p:sp>
      <p:sp>
        <p:nvSpPr>
          <p:cNvPr id="7" name="Date Placeholder 6"/>
          <p:cNvSpPr>
            <a:spLocks noGrp="1"/>
          </p:cNvSpPr>
          <p:nvPr>
            <p:ph type="dt" sz="half" idx="10"/>
          </p:nvPr>
        </p:nvSpPr>
        <p:spPr/>
        <p:txBody>
          <a:bodyPr/>
          <a:lstStyle/>
          <a:p>
            <a:fld id="{F5019F62-AE58-4437-8D82-E61F92F03977}" type="datetime1">
              <a:rPr lang="en-US" smtClean="0"/>
              <a:pPr/>
              <a:t>3/8/2024</a:t>
            </a:fld>
            <a:endParaRPr lang="en-US" dirty="0"/>
          </a:p>
        </p:txBody>
      </p:sp>
      <p:sp>
        <p:nvSpPr>
          <p:cNvPr id="9" name="Slide Number Placeholder 8"/>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3564208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dirty="0"/>
              <a:t>2024 Draft Business Plan Update</a:t>
            </a:r>
          </a:p>
        </p:txBody>
      </p:sp>
      <p:sp>
        <p:nvSpPr>
          <p:cNvPr id="3" name="Date Placeholder 2"/>
          <p:cNvSpPr>
            <a:spLocks noGrp="1"/>
          </p:cNvSpPr>
          <p:nvPr>
            <p:ph type="dt" sz="half" idx="10"/>
          </p:nvPr>
        </p:nvSpPr>
        <p:spPr/>
        <p:txBody>
          <a:bodyPr/>
          <a:lstStyle/>
          <a:p>
            <a:fld id="{F5019F62-AE58-4437-8D82-E61F92F03977}" type="datetime1">
              <a:rPr lang="en-US" smtClean="0"/>
              <a:pPr/>
              <a:t>3/8/2024</a:t>
            </a:fld>
            <a:endParaRPr lang="en-US" dirty="0"/>
          </a:p>
        </p:txBody>
      </p:sp>
      <p:sp>
        <p:nvSpPr>
          <p:cNvPr id="5" name="Slide Number Placeholder 4"/>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20764284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Main title of PowerPoint – To edit search Master Slide and click on slide 1 </a:t>
            </a:r>
          </a:p>
        </p:txBody>
      </p:sp>
      <p:sp>
        <p:nvSpPr>
          <p:cNvPr id="2" name="Date Placeholder 1"/>
          <p:cNvSpPr>
            <a:spLocks noGrp="1"/>
          </p:cNvSpPr>
          <p:nvPr>
            <p:ph type="dt" sz="half" idx="10"/>
          </p:nvPr>
        </p:nvSpPr>
        <p:spPr/>
        <p:txBody>
          <a:bodyPr/>
          <a:lstStyle/>
          <a:p>
            <a:fld id="{F5019F62-AE58-4437-8D82-E61F92F03977}" type="datetime1">
              <a:rPr lang="en-US" smtClean="0"/>
              <a:pPr/>
              <a:t>3/8/2024</a:t>
            </a:fld>
            <a:endParaRPr lang="en-US" dirty="0"/>
          </a:p>
        </p:txBody>
      </p:sp>
      <p:sp>
        <p:nvSpPr>
          <p:cNvPr id="4" name="Slide Number Placeholder 3"/>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2888029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128832"/>
            <a:ext cx="11012488" cy="849794"/>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342900" y="1074738"/>
            <a:ext cx="4429125" cy="479425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p:cNvSpPr>
            <a:spLocks noGrp="1"/>
          </p:cNvSpPr>
          <p:nvPr>
            <p:ph idx="1"/>
          </p:nvPr>
        </p:nvSpPr>
        <p:spPr>
          <a:xfrm>
            <a:off x="5183188" y="1066800"/>
            <a:ext cx="6627812" cy="47942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CEO Report</a:t>
            </a:r>
          </a:p>
        </p:txBody>
      </p:sp>
      <p:sp>
        <p:nvSpPr>
          <p:cNvPr id="5" name="Date Placeholder 4"/>
          <p:cNvSpPr>
            <a:spLocks noGrp="1"/>
          </p:cNvSpPr>
          <p:nvPr>
            <p:ph type="dt" sz="half" idx="10"/>
          </p:nvPr>
        </p:nvSpPr>
        <p:spPr/>
        <p:txBody>
          <a:bodyPr/>
          <a:lstStyle/>
          <a:p>
            <a:fld id="{073C31B4-B5B2-407D-938F-A5154B06BF1C}" type="datetime1">
              <a:rPr lang="en-US" smtClean="0"/>
              <a:t>3/8/2024</a:t>
            </a:fld>
            <a:endParaRPr lang="en-US" dirty="0"/>
          </a:p>
        </p:txBody>
      </p:sp>
      <p:sp>
        <p:nvSpPr>
          <p:cNvPr id="7" name="Slide Number Placeholder 6"/>
          <p:cNvSpPr>
            <a:spLocks noGrp="1"/>
          </p:cNvSpPr>
          <p:nvPr>
            <p:ph type="sldNum" sz="quarter" idx="12"/>
          </p:nvPr>
        </p:nvSpPr>
        <p:spPr/>
        <p:txBody>
          <a:bodyPr/>
          <a:lstStyle/>
          <a:p>
            <a:fld id="{9F845ACB-6A9C-4D80-856D-F33308202576}" type="slidenum">
              <a:rPr lang="en-US" smtClean="0"/>
              <a:t>‹#›</a:t>
            </a:fld>
            <a:endParaRPr lang="en-US" dirty="0"/>
          </a:p>
        </p:txBody>
      </p:sp>
    </p:spTree>
    <p:extLst>
      <p:ext uri="{BB962C8B-B14F-4D97-AF65-F5344CB8AC3E}">
        <p14:creationId xmlns:p14="http://schemas.microsoft.com/office/powerpoint/2010/main" val="27247159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Map Layout">
    <p:spTree>
      <p:nvGrpSpPr>
        <p:cNvPr id="1" name=""/>
        <p:cNvGrpSpPr/>
        <p:nvPr/>
      </p:nvGrpSpPr>
      <p:grpSpPr>
        <a:xfrm>
          <a:off x="0" y="0"/>
          <a:ext cx="0" cy="0"/>
          <a:chOff x="0" y="0"/>
          <a:chExt cx="0" cy="0"/>
        </a:xfrm>
      </p:grpSpPr>
      <p:sp>
        <p:nvSpPr>
          <p:cNvPr id="2" name="Title 1"/>
          <p:cNvSpPr>
            <a:spLocks noGrp="1"/>
          </p:cNvSpPr>
          <p:nvPr>
            <p:ph type="title"/>
          </p:nvPr>
        </p:nvSpPr>
        <p:spPr>
          <a:xfrm>
            <a:off x="342900" y="128832"/>
            <a:ext cx="4429125" cy="849794"/>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342900" y="1074738"/>
            <a:ext cx="4429125" cy="54022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Content Placeholder 2"/>
          <p:cNvSpPr>
            <a:spLocks noGrp="1"/>
          </p:cNvSpPr>
          <p:nvPr>
            <p:ph idx="1"/>
          </p:nvPr>
        </p:nvSpPr>
        <p:spPr>
          <a:xfrm>
            <a:off x="5183188" y="102706"/>
            <a:ext cx="6627812" cy="63742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dirty="0"/>
              <a:t>CEO Report</a:t>
            </a:r>
          </a:p>
        </p:txBody>
      </p:sp>
      <p:sp>
        <p:nvSpPr>
          <p:cNvPr id="5" name="Date Placeholder 4"/>
          <p:cNvSpPr>
            <a:spLocks noGrp="1"/>
          </p:cNvSpPr>
          <p:nvPr>
            <p:ph type="dt" sz="half" idx="10"/>
          </p:nvPr>
        </p:nvSpPr>
        <p:spPr/>
        <p:txBody>
          <a:bodyPr/>
          <a:lstStyle/>
          <a:p>
            <a:fld id="{073C31B4-B5B2-407D-938F-A5154B06BF1C}" type="datetime1">
              <a:rPr lang="en-US" smtClean="0"/>
              <a:t>3/8/2024</a:t>
            </a:fld>
            <a:endParaRPr lang="en-US" dirty="0"/>
          </a:p>
        </p:txBody>
      </p:sp>
      <p:sp>
        <p:nvSpPr>
          <p:cNvPr id="7" name="Slide Number Placeholder 6"/>
          <p:cNvSpPr>
            <a:spLocks noGrp="1"/>
          </p:cNvSpPr>
          <p:nvPr>
            <p:ph type="sldNum" sz="quarter" idx="12"/>
          </p:nvPr>
        </p:nvSpPr>
        <p:spPr/>
        <p:txBody>
          <a:bodyPr/>
          <a:lstStyle/>
          <a:p>
            <a:fld id="{9F845ACB-6A9C-4D80-856D-F33308202576}" type="slidenum">
              <a:rPr lang="en-US" smtClean="0"/>
              <a:t>‹#›</a:t>
            </a:fld>
            <a:endParaRPr lang="en-US" dirty="0"/>
          </a:p>
        </p:txBody>
      </p:sp>
    </p:spTree>
    <p:extLst>
      <p:ext uri="{BB962C8B-B14F-4D97-AF65-F5344CB8AC3E}">
        <p14:creationId xmlns:p14="http://schemas.microsoft.com/office/powerpoint/2010/main" val="2536682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7EFD8C-EB85-B90D-7692-E4DF9AFA96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42A859A-D181-FF36-9AE5-9D04A869BF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980B21E-9B73-B471-1A6E-42B6AE09B1C9}"/>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AAC17023-587E-C706-AB2E-58AFAF7FD2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CF4A2A6-E0B9-09A1-ED54-03DF2AB92D7F}"/>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18053883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114300"/>
            <a:ext cx="4429125" cy="838200"/>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342900" y="1066800"/>
            <a:ext cx="4429125" cy="48021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noChangeAspect="1"/>
          </p:cNvSpPr>
          <p:nvPr>
            <p:ph type="pic" idx="1"/>
          </p:nvPr>
        </p:nvSpPr>
        <p:spPr>
          <a:xfrm>
            <a:off x="5183188" y="1058862"/>
            <a:ext cx="6172200" cy="4802188"/>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6" name="Footer Placeholder 5"/>
          <p:cNvSpPr>
            <a:spLocks noGrp="1"/>
          </p:cNvSpPr>
          <p:nvPr>
            <p:ph type="ftr" sz="quarter" idx="11"/>
          </p:nvPr>
        </p:nvSpPr>
        <p:spPr/>
        <p:txBody>
          <a:bodyPr/>
          <a:lstStyle/>
          <a:p>
            <a:r>
              <a:rPr lang="en-US" dirty="0"/>
              <a:t>CEO Report</a:t>
            </a:r>
          </a:p>
        </p:txBody>
      </p:sp>
      <p:sp>
        <p:nvSpPr>
          <p:cNvPr id="5" name="Date Placeholder 4"/>
          <p:cNvSpPr>
            <a:spLocks noGrp="1"/>
          </p:cNvSpPr>
          <p:nvPr>
            <p:ph type="dt" sz="half" idx="10"/>
          </p:nvPr>
        </p:nvSpPr>
        <p:spPr/>
        <p:txBody>
          <a:bodyPr/>
          <a:lstStyle/>
          <a:p>
            <a:fld id="{3084E995-21A1-459C-8DEE-D7D5235CBF97}" type="datetime1">
              <a:rPr lang="en-US" smtClean="0"/>
              <a:t>3/8/2024</a:t>
            </a:fld>
            <a:endParaRPr lang="en-US" dirty="0"/>
          </a:p>
        </p:txBody>
      </p:sp>
      <p:sp>
        <p:nvSpPr>
          <p:cNvPr id="7" name="Slide Number Placeholder 6"/>
          <p:cNvSpPr>
            <a:spLocks noGrp="1"/>
          </p:cNvSpPr>
          <p:nvPr>
            <p:ph type="sldNum" sz="quarter" idx="12"/>
          </p:nvPr>
        </p:nvSpPr>
        <p:spPr/>
        <p:txBody>
          <a:bodyPr/>
          <a:lstStyle/>
          <a:p>
            <a:fld id="{9F845ACB-6A9C-4D80-856D-F33308202576}" type="slidenum">
              <a:rPr lang="en-US" smtClean="0"/>
              <a:t>‹#›</a:t>
            </a:fld>
            <a:endParaRPr lang="en-US" dirty="0"/>
          </a:p>
        </p:txBody>
      </p:sp>
    </p:spTree>
    <p:extLst>
      <p:ext uri="{BB962C8B-B14F-4D97-AF65-F5344CB8AC3E}">
        <p14:creationId xmlns:p14="http://schemas.microsoft.com/office/powerpoint/2010/main" val="8260142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A64CA1-BE16-4CE5-B5B1-27BDA03A250F}"/>
              </a:ext>
            </a:extLst>
          </p:cNvPr>
          <p:cNvSpPr>
            <a:spLocks noGrp="1"/>
          </p:cNvSpPr>
          <p:nvPr>
            <p:ph type="title"/>
          </p:nvPr>
        </p:nvSpPr>
        <p:spPr/>
        <p:txBody>
          <a:bodyPr/>
          <a:lstStyle/>
          <a:p>
            <a:r>
              <a:rPr lang="en-US"/>
              <a:t>Click to edit Master title style</a:t>
            </a:r>
          </a:p>
        </p:txBody>
      </p:sp>
      <p:sp>
        <p:nvSpPr>
          <p:cNvPr id="9" name="Content Placeholder 8">
            <a:extLst>
              <a:ext uri="{FF2B5EF4-FFF2-40B4-BE49-F238E27FC236}">
                <a16:creationId xmlns:a16="http://schemas.microsoft.com/office/drawing/2014/main" id="{5D41D3F8-4D52-4921-A96A-C0C2CAA67B8C}"/>
              </a:ext>
            </a:extLst>
          </p:cNvPr>
          <p:cNvSpPr>
            <a:spLocks noGrp="1"/>
          </p:cNvSpPr>
          <p:nvPr>
            <p:ph sz="quarter" idx="14"/>
          </p:nvPr>
        </p:nvSpPr>
        <p:spPr>
          <a:xfrm>
            <a:off x="342900" y="1066800"/>
            <a:ext cx="11239501" cy="4973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519286E8-4B48-409A-91D3-54846998D58F}"/>
              </a:ext>
            </a:extLst>
          </p:cNvPr>
          <p:cNvSpPr>
            <a:spLocks noGrp="1"/>
          </p:cNvSpPr>
          <p:nvPr>
            <p:ph type="ftr" sz="quarter" idx="16"/>
          </p:nvPr>
        </p:nvSpPr>
        <p:spPr/>
        <p:txBody>
          <a:bodyPr/>
          <a:lstStyle/>
          <a:p>
            <a:r>
              <a:rPr lang="en-US" dirty="0"/>
              <a:t>Main title of PowerPoint – To edit search Master Slide and click on slide 1 </a:t>
            </a:r>
          </a:p>
        </p:txBody>
      </p:sp>
      <p:sp>
        <p:nvSpPr>
          <p:cNvPr id="2" name="Date Placeholder 1">
            <a:extLst>
              <a:ext uri="{FF2B5EF4-FFF2-40B4-BE49-F238E27FC236}">
                <a16:creationId xmlns:a16="http://schemas.microsoft.com/office/drawing/2014/main" id="{0C9F0893-934E-4269-9A1E-5A65DDD3EB0C}"/>
              </a:ext>
            </a:extLst>
          </p:cNvPr>
          <p:cNvSpPr>
            <a:spLocks noGrp="1"/>
          </p:cNvSpPr>
          <p:nvPr>
            <p:ph type="dt" sz="half" idx="15"/>
          </p:nvPr>
        </p:nvSpPr>
        <p:spPr/>
        <p:txBody>
          <a:bodyPr/>
          <a:lstStyle/>
          <a:p>
            <a:fld id="{F5019F62-AE58-4437-8D82-E61F92F03977}" type="datetime1">
              <a:rPr lang="en-US" smtClean="0"/>
              <a:pPr/>
              <a:t>3/8/2024</a:t>
            </a:fld>
            <a:endParaRPr lang="en-US" dirty="0"/>
          </a:p>
        </p:txBody>
      </p:sp>
      <p:sp>
        <p:nvSpPr>
          <p:cNvPr id="8" name="Slide Number Placeholder 7">
            <a:extLst>
              <a:ext uri="{FF2B5EF4-FFF2-40B4-BE49-F238E27FC236}">
                <a16:creationId xmlns:a16="http://schemas.microsoft.com/office/drawing/2014/main" id="{AF474C85-D971-4A83-AEFF-562E3FA79404}"/>
              </a:ext>
            </a:extLst>
          </p:cNvPr>
          <p:cNvSpPr>
            <a:spLocks noGrp="1"/>
          </p:cNvSpPr>
          <p:nvPr>
            <p:ph type="sldNum" sz="quarter" idx="17"/>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4468750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900" y="1066800"/>
            <a:ext cx="11245657" cy="51101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B1BF814-D74A-4A80-858D-089079B375C7}"/>
              </a:ext>
            </a:extLst>
          </p:cNvPr>
          <p:cNvSpPr>
            <a:spLocks noGrp="1"/>
          </p:cNvSpPr>
          <p:nvPr>
            <p:ph type="title"/>
          </p:nvPr>
        </p:nvSpPr>
        <p:spPr/>
        <p:txBody>
          <a:bodyPr/>
          <a:lstStyle/>
          <a:p>
            <a:r>
              <a:rPr lang="en-US"/>
              <a:t>Click to edit Master title style</a:t>
            </a:r>
          </a:p>
        </p:txBody>
      </p:sp>
      <p:sp>
        <p:nvSpPr>
          <p:cNvPr id="10" name="Date Placeholder 9">
            <a:extLst>
              <a:ext uri="{FF2B5EF4-FFF2-40B4-BE49-F238E27FC236}">
                <a16:creationId xmlns:a16="http://schemas.microsoft.com/office/drawing/2014/main" id="{CC609D39-FC9A-430D-94C9-3E740F59069F}"/>
              </a:ext>
            </a:extLst>
          </p:cNvPr>
          <p:cNvSpPr>
            <a:spLocks noGrp="1"/>
          </p:cNvSpPr>
          <p:nvPr>
            <p:ph type="dt" sz="half" idx="10"/>
          </p:nvPr>
        </p:nvSpPr>
        <p:spPr/>
        <p:txBody>
          <a:bodyPr/>
          <a:lstStyle/>
          <a:p>
            <a:fld id="{F5019F62-AE58-4437-8D82-E61F92F03977}" type="datetime1">
              <a:rPr lang="en-US" smtClean="0"/>
              <a:pPr/>
              <a:t>3/8/2024</a:t>
            </a:fld>
            <a:endParaRPr lang="en-US" dirty="0"/>
          </a:p>
        </p:txBody>
      </p:sp>
      <p:sp>
        <p:nvSpPr>
          <p:cNvPr id="11" name="Footer Placeholder 10">
            <a:extLst>
              <a:ext uri="{FF2B5EF4-FFF2-40B4-BE49-F238E27FC236}">
                <a16:creationId xmlns:a16="http://schemas.microsoft.com/office/drawing/2014/main" id="{FD5535E5-8929-47A0-8A38-9F9D00720EA1}"/>
              </a:ext>
            </a:extLst>
          </p:cNvPr>
          <p:cNvSpPr>
            <a:spLocks noGrp="1"/>
          </p:cNvSpPr>
          <p:nvPr>
            <p:ph type="ftr" sz="quarter" idx="11"/>
          </p:nvPr>
        </p:nvSpPr>
        <p:spPr/>
        <p:txBody>
          <a:bodyPr/>
          <a:lstStyle/>
          <a:p>
            <a:r>
              <a:rPr lang="en-US" dirty="0"/>
              <a:t>Main title of PowerPoint – To edit search Master Slide and click on slide 1 </a:t>
            </a:r>
          </a:p>
        </p:txBody>
      </p:sp>
      <p:sp>
        <p:nvSpPr>
          <p:cNvPr id="12" name="Slide Number Placeholder 11">
            <a:extLst>
              <a:ext uri="{FF2B5EF4-FFF2-40B4-BE49-F238E27FC236}">
                <a16:creationId xmlns:a16="http://schemas.microsoft.com/office/drawing/2014/main" id="{CEB2C088-FE35-42E2-B1CA-5AF4F5B19B1E}"/>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515244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8E616A12-3913-4C1F-AC06-8C6EEE483037}"/>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B3DCE875-C703-473C-9C14-83EF87A0A32D}"/>
              </a:ext>
            </a:extLst>
          </p:cNvPr>
          <p:cNvSpPr>
            <a:spLocks noGrp="1"/>
          </p:cNvSpPr>
          <p:nvPr>
            <p:ph type="dt" sz="half" idx="10"/>
          </p:nvPr>
        </p:nvSpPr>
        <p:spPr/>
        <p:txBody>
          <a:bodyPr/>
          <a:lstStyle/>
          <a:p>
            <a:fld id="{F5019F62-AE58-4437-8D82-E61F92F03977}" type="datetime1">
              <a:rPr lang="en-US" smtClean="0"/>
              <a:pPr/>
              <a:t>3/8/2024</a:t>
            </a:fld>
            <a:endParaRPr lang="en-US" dirty="0"/>
          </a:p>
        </p:txBody>
      </p:sp>
      <p:sp>
        <p:nvSpPr>
          <p:cNvPr id="8" name="Footer Placeholder 7">
            <a:extLst>
              <a:ext uri="{FF2B5EF4-FFF2-40B4-BE49-F238E27FC236}">
                <a16:creationId xmlns:a16="http://schemas.microsoft.com/office/drawing/2014/main" id="{4B89A12A-4BAD-4DB8-98A6-ED8CC4705DDF}"/>
              </a:ext>
            </a:extLst>
          </p:cNvPr>
          <p:cNvSpPr>
            <a:spLocks noGrp="1"/>
          </p:cNvSpPr>
          <p:nvPr>
            <p:ph type="ftr" sz="quarter" idx="11"/>
          </p:nvPr>
        </p:nvSpPr>
        <p:spPr/>
        <p:txBody>
          <a:bodyPr/>
          <a:lstStyle/>
          <a:p>
            <a:r>
              <a:rPr lang="en-US" dirty="0"/>
              <a:t>Main title of PowerPoint – To edit search Master Slide and click on slide 1 </a:t>
            </a:r>
          </a:p>
        </p:txBody>
      </p:sp>
      <p:sp>
        <p:nvSpPr>
          <p:cNvPr id="9" name="Slide Number Placeholder 8">
            <a:extLst>
              <a:ext uri="{FF2B5EF4-FFF2-40B4-BE49-F238E27FC236}">
                <a16:creationId xmlns:a16="http://schemas.microsoft.com/office/drawing/2014/main" id="{30040946-8659-4FB9-A6A4-4B2170857BB3}"/>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4126227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resenter Slide">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D3C18F-AC55-4328-B0EB-02377149E2A6}"/>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9" name="Content Placeholder 8">
            <a:extLst>
              <a:ext uri="{FF2B5EF4-FFF2-40B4-BE49-F238E27FC236}">
                <a16:creationId xmlns:a16="http://schemas.microsoft.com/office/drawing/2014/main" id="{CA112610-2168-4DB7-91E6-D5E2B69416C6}"/>
              </a:ext>
            </a:extLst>
          </p:cNvPr>
          <p:cNvSpPr>
            <a:spLocks noGrp="1"/>
          </p:cNvSpPr>
          <p:nvPr>
            <p:ph sz="quarter" idx="14" hasCustomPrompt="1"/>
          </p:nvPr>
        </p:nvSpPr>
        <p:spPr>
          <a:xfrm>
            <a:off x="342901" y="1066800"/>
            <a:ext cx="4598070" cy="5013325"/>
          </a:xfrm>
        </p:spPr>
        <p:txBody>
          <a:bodyPr>
            <a:normAutofit/>
          </a:bodyPr>
          <a:lstStyle>
            <a:lvl1pPr marL="0" indent="0">
              <a:buNone/>
              <a:defRPr sz="2800">
                <a:solidFill>
                  <a:schemeClr val="bg1"/>
                </a:solidFill>
              </a:defRPr>
            </a:lvl1pPr>
            <a:lvl2pPr>
              <a:defRPr sz="2000"/>
            </a:lvl2pPr>
            <a:lvl3pPr>
              <a:defRPr sz="1800"/>
            </a:lvl3pPr>
            <a:lvl4pPr>
              <a:defRPr sz="1600"/>
            </a:lvl4pPr>
            <a:lvl5pPr>
              <a:defRPr sz="1400"/>
            </a:lvl5pPr>
          </a:lstStyle>
          <a:p>
            <a:pPr lvl="0"/>
            <a:r>
              <a:rPr lang="en-US"/>
              <a:t>Presentation Date/Information </a:t>
            </a:r>
          </a:p>
        </p:txBody>
      </p:sp>
      <p:sp>
        <p:nvSpPr>
          <p:cNvPr id="7" name="SmartArt Placeholder 6">
            <a:extLst>
              <a:ext uri="{FF2B5EF4-FFF2-40B4-BE49-F238E27FC236}">
                <a16:creationId xmlns:a16="http://schemas.microsoft.com/office/drawing/2014/main" id="{3F425565-7926-48E2-98DA-F6E0BDD935CB}"/>
              </a:ext>
            </a:extLst>
          </p:cNvPr>
          <p:cNvSpPr>
            <a:spLocks noGrp="1"/>
          </p:cNvSpPr>
          <p:nvPr>
            <p:ph type="dgm" sz="quarter" idx="13" hasCustomPrompt="1"/>
          </p:nvPr>
        </p:nvSpPr>
        <p:spPr>
          <a:xfrm>
            <a:off x="5154865" y="1066800"/>
            <a:ext cx="7037139" cy="5013433"/>
          </a:xfrm>
        </p:spPr>
        <p:txBody>
          <a:bodyPr/>
          <a:lstStyle>
            <a:lvl1pPr>
              <a:defRPr>
                <a:solidFill>
                  <a:schemeClr val="bg1"/>
                </a:solidFill>
              </a:defRPr>
            </a:lvl1pPr>
          </a:lstStyle>
          <a:p>
            <a:r>
              <a:rPr lang="en-US" dirty="0"/>
              <a:t>Add smart Graphic Here for images of the presenters. </a:t>
            </a:r>
          </a:p>
        </p:txBody>
      </p:sp>
      <p:sp>
        <p:nvSpPr>
          <p:cNvPr id="12" name="Footer Placeholder 11">
            <a:extLst>
              <a:ext uri="{FF2B5EF4-FFF2-40B4-BE49-F238E27FC236}">
                <a16:creationId xmlns:a16="http://schemas.microsoft.com/office/drawing/2014/main" id="{3519B0A8-0C6F-4E4C-8E67-315985D3B872}"/>
              </a:ext>
            </a:extLst>
          </p:cNvPr>
          <p:cNvSpPr>
            <a:spLocks noGrp="1"/>
          </p:cNvSpPr>
          <p:nvPr>
            <p:ph type="ftr" sz="quarter" idx="16"/>
          </p:nvPr>
        </p:nvSpPr>
        <p:spPr/>
        <p:txBody>
          <a:bodyPr/>
          <a:lstStyle/>
          <a:p>
            <a:r>
              <a:rPr lang="en-US" dirty="0"/>
              <a:t>Main title of PowerPoint – To edit search Master Slide and click on slide 1 </a:t>
            </a:r>
          </a:p>
        </p:txBody>
      </p:sp>
      <p:sp>
        <p:nvSpPr>
          <p:cNvPr id="11" name="Date Placeholder 10">
            <a:extLst>
              <a:ext uri="{FF2B5EF4-FFF2-40B4-BE49-F238E27FC236}">
                <a16:creationId xmlns:a16="http://schemas.microsoft.com/office/drawing/2014/main" id="{2B38A214-532A-4C9E-91EE-B7DFB003500A}"/>
              </a:ext>
            </a:extLst>
          </p:cNvPr>
          <p:cNvSpPr>
            <a:spLocks noGrp="1"/>
          </p:cNvSpPr>
          <p:nvPr>
            <p:ph type="dt" sz="half" idx="15"/>
          </p:nvPr>
        </p:nvSpPr>
        <p:spPr/>
        <p:txBody>
          <a:bodyPr/>
          <a:lstStyle/>
          <a:p>
            <a:fld id="{F5019F62-AE58-4437-8D82-E61F92F03977}" type="datetime1">
              <a:rPr lang="en-US" smtClean="0"/>
              <a:pPr/>
              <a:t>3/8/2024</a:t>
            </a:fld>
            <a:endParaRPr lang="en-US" dirty="0"/>
          </a:p>
        </p:txBody>
      </p:sp>
      <p:sp>
        <p:nvSpPr>
          <p:cNvPr id="13" name="Slide Number Placeholder 12">
            <a:extLst>
              <a:ext uri="{FF2B5EF4-FFF2-40B4-BE49-F238E27FC236}">
                <a16:creationId xmlns:a16="http://schemas.microsoft.com/office/drawing/2014/main" id="{697AAE83-5E6D-4405-B0B2-10A5395AE707}"/>
              </a:ext>
            </a:extLst>
          </p:cNvPr>
          <p:cNvSpPr>
            <a:spLocks noGrp="1"/>
          </p:cNvSpPr>
          <p:nvPr>
            <p:ph type="sldNum" sz="quarter" idx="17"/>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38001989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A1A645C-C6B9-4FCC-B579-F0DFF0D97362}"/>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42901" y="1066800"/>
            <a:ext cx="5669280" cy="531096"/>
          </a:xfrm>
        </p:spPr>
        <p:txBody>
          <a:bodyPr anchor="t">
            <a:norm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42900" y="1754909"/>
            <a:ext cx="5669281" cy="44347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46905" y="1066800"/>
            <a:ext cx="5669280" cy="531096"/>
          </a:xfrm>
        </p:spPr>
        <p:txBody>
          <a:bodyPr anchor="t">
            <a:normAutofit/>
          </a:bodyPr>
          <a:lstStyle>
            <a:lvl1pPr marL="0" indent="0">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46905" y="1754909"/>
            <a:ext cx="5664096" cy="44347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1F24DAFB-976D-4E9E-85C1-A183AD7273DC}"/>
              </a:ext>
            </a:extLst>
          </p:cNvPr>
          <p:cNvSpPr>
            <a:spLocks noGrp="1"/>
          </p:cNvSpPr>
          <p:nvPr>
            <p:ph type="ftr" sz="quarter" idx="11"/>
          </p:nvPr>
        </p:nvSpPr>
        <p:spPr/>
        <p:txBody>
          <a:bodyPr/>
          <a:lstStyle/>
          <a:p>
            <a:r>
              <a:rPr lang="en-US" dirty="0"/>
              <a:t>Main title of PowerPoint – To edit search Master Slide and click on slide 1 </a:t>
            </a:r>
          </a:p>
        </p:txBody>
      </p:sp>
      <p:sp>
        <p:nvSpPr>
          <p:cNvPr id="2" name="Date Placeholder 1">
            <a:extLst>
              <a:ext uri="{FF2B5EF4-FFF2-40B4-BE49-F238E27FC236}">
                <a16:creationId xmlns:a16="http://schemas.microsoft.com/office/drawing/2014/main" id="{FC5E7226-DD2D-49F1-8692-C4C203F921A3}"/>
              </a:ext>
            </a:extLst>
          </p:cNvPr>
          <p:cNvSpPr>
            <a:spLocks noGrp="1"/>
          </p:cNvSpPr>
          <p:nvPr>
            <p:ph type="dt" sz="half" idx="10"/>
          </p:nvPr>
        </p:nvSpPr>
        <p:spPr/>
        <p:txBody>
          <a:bodyPr/>
          <a:lstStyle/>
          <a:p>
            <a:fld id="{F5019F62-AE58-4437-8D82-E61F92F03977}" type="datetime1">
              <a:rPr lang="en-US" smtClean="0"/>
              <a:pPr/>
              <a:t>3/8/2024</a:t>
            </a:fld>
            <a:endParaRPr lang="en-US" dirty="0"/>
          </a:p>
        </p:txBody>
      </p:sp>
      <p:sp>
        <p:nvSpPr>
          <p:cNvPr id="12" name="Slide Number Placeholder 11">
            <a:extLst>
              <a:ext uri="{FF2B5EF4-FFF2-40B4-BE49-F238E27FC236}">
                <a16:creationId xmlns:a16="http://schemas.microsoft.com/office/drawing/2014/main" id="{6DB0795C-E8A5-4914-80E9-1914934D5CB1}"/>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3087671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954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Custom Layout">
    <p:bg>
      <p:bgRef idx="1003">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10BC9F-9B6E-47E6-AB73-FB21F94B6386}"/>
              </a:ext>
              <a:ext uri="{C183D7F6-B498-43B3-948B-1728B52AA6E4}">
                <adec:decorative xmlns:adec="http://schemas.microsoft.com/office/drawing/2017/decorative" xmlns="" val="1"/>
              </a:ext>
            </a:extLst>
          </p:cNvPr>
          <p:cNvSpPr/>
          <p:nvPr/>
        </p:nvSpPr>
        <p:spPr>
          <a:xfrm>
            <a:off x="0" y="-2"/>
            <a:ext cx="12192000" cy="489047"/>
          </a:xfrm>
          <a:prstGeom prst="rect">
            <a:avLst/>
          </a:prstGeom>
          <a:solidFill>
            <a:srgbClr val="15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ii</a:t>
            </a:r>
          </a:p>
        </p:txBody>
      </p:sp>
      <p:pic>
        <p:nvPicPr>
          <p:cNvPr id="7" name="Picture 6" descr="Green Build HSR logo">
            <a:extLst>
              <a:ext uri="{FF2B5EF4-FFF2-40B4-BE49-F238E27FC236}">
                <a16:creationId xmlns:a16="http://schemas.microsoft.com/office/drawing/2014/main" id="{0EB3C24E-05BA-4215-A4DB-B1747F1E1A4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9091" b="90909" l="9140" r="89785">
                        <a14:foregroundMark x1="80645" y1="54067" x2="24194" y2="52632"/>
                        <a14:foregroundMark x1="24194" y1="52632" x2="50538" y2="65072"/>
                        <a14:foregroundMark x1="50538" y1="65072" x2="74731" y2="55502"/>
                        <a14:foregroundMark x1="74731" y1="55502" x2="75269" y2="54067"/>
                        <a14:foregroundMark x1="24731" y1="49761" x2="33333" y2="61244"/>
                        <a14:foregroundMark x1="30645" y1="11962" x2="59677" y2="11005"/>
                        <a14:foregroundMark x1="59677" y1="11005" x2="71505" y2="14354"/>
                        <a14:foregroundMark x1="71505" y1="14354" x2="45161" y2="9091"/>
                        <a14:foregroundMark x1="45161" y1="9091" x2="34409" y2="11483"/>
                        <a14:foregroundMark x1="39785" y1="44019" x2="23656" y2="63636"/>
                        <a14:foregroundMark x1="23656" y1="63636" x2="64516" y2="56459"/>
                        <a14:foregroundMark x1="64516" y1="56459" x2="66667" y2="49761"/>
                        <a14:foregroundMark x1="66667" y1="49761" x2="61290" y2="49282"/>
                        <a14:foregroundMark x1="32258" y1="64593" x2="27957" y2="66507"/>
                        <a14:foregroundMark x1="31183" y1="88038" x2="58065" y2="90909"/>
                        <a14:foregroundMark x1="58065" y1="90909" x2="72581" y2="88517"/>
                        <a14:foregroundMark x1="26882" y1="68421" x2="22043" y2="49282"/>
                      </a14:backgroundRemoval>
                    </a14:imgEffect>
                  </a14:imgLayer>
                </a14:imgProps>
              </a:ext>
            </a:extLst>
          </a:blip>
          <a:stretch>
            <a:fillRect/>
          </a:stretch>
        </p:blipFill>
        <p:spPr>
          <a:xfrm>
            <a:off x="255793" y="5"/>
            <a:ext cx="2138615" cy="2374083"/>
          </a:xfrm>
          <a:prstGeom prst="rect">
            <a:avLst/>
          </a:prstGeom>
        </p:spPr>
      </p:pic>
      <p:sp>
        <p:nvSpPr>
          <p:cNvPr id="2" name="Title 1">
            <a:extLst>
              <a:ext uri="{FF2B5EF4-FFF2-40B4-BE49-F238E27FC236}">
                <a16:creationId xmlns:a16="http://schemas.microsoft.com/office/drawing/2014/main" id="{2CE04B9C-2015-4FD9-BD7A-61DE6EAE6A08}"/>
              </a:ext>
            </a:extLst>
          </p:cNvPr>
          <p:cNvSpPr>
            <a:spLocks noGrp="1"/>
          </p:cNvSpPr>
          <p:nvPr>
            <p:ph type="title" hasCustomPrompt="1"/>
          </p:nvPr>
        </p:nvSpPr>
        <p:spPr>
          <a:xfrm>
            <a:off x="6096002" y="573253"/>
            <a:ext cx="5486399" cy="3112061"/>
          </a:xfrm>
        </p:spPr>
        <p:txBody>
          <a:bodyPr>
            <a:normAutofit/>
          </a:bodyPr>
          <a:lstStyle>
            <a:lvl1pPr>
              <a:defRPr sz="4400" b="1">
                <a:solidFill>
                  <a:srgbClr val="184F24"/>
                </a:solidFill>
              </a:defRPr>
            </a:lvl1pPr>
          </a:lstStyle>
          <a:p>
            <a:r>
              <a:rPr lang="en-US"/>
              <a:t>Sustainability Section Page</a:t>
            </a:r>
          </a:p>
        </p:txBody>
      </p:sp>
      <p:sp>
        <p:nvSpPr>
          <p:cNvPr id="11" name="Text Placeholder 10">
            <a:extLst>
              <a:ext uri="{FF2B5EF4-FFF2-40B4-BE49-F238E27FC236}">
                <a16:creationId xmlns:a16="http://schemas.microsoft.com/office/drawing/2014/main" id="{DC8B7BC3-31CC-4720-A45E-4C90641587BF}"/>
              </a:ext>
            </a:extLst>
          </p:cNvPr>
          <p:cNvSpPr>
            <a:spLocks noGrp="1"/>
          </p:cNvSpPr>
          <p:nvPr>
            <p:ph type="body" sz="quarter" idx="13" hasCustomPrompt="1"/>
          </p:nvPr>
        </p:nvSpPr>
        <p:spPr>
          <a:xfrm>
            <a:off x="6095999" y="3834887"/>
            <a:ext cx="5486400" cy="2332653"/>
          </a:xfrm>
        </p:spPr>
        <p:txBody>
          <a:bodyPr anchor="b">
            <a:normAutofit/>
          </a:bodyPr>
          <a:lstStyle>
            <a:lvl1pPr marL="0" indent="0">
              <a:buNone/>
              <a:defRPr sz="2400" b="1">
                <a:solidFill>
                  <a:srgbClr val="184F24"/>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tion Subhead, talking points, etc.</a:t>
            </a:r>
          </a:p>
        </p:txBody>
      </p:sp>
      <p:sp>
        <p:nvSpPr>
          <p:cNvPr id="13" name="Rectangle 12">
            <a:extLst>
              <a:ext uri="{FF2B5EF4-FFF2-40B4-BE49-F238E27FC236}">
                <a16:creationId xmlns:a16="http://schemas.microsoft.com/office/drawing/2014/main" id="{BEA758EA-7406-492B-8661-BBEB98E1F973}"/>
              </a:ext>
              <a:ext uri="{C183D7F6-B498-43B3-948B-1728B52AA6E4}">
                <adec:decorative xmlns:adec="http://schemas.microsoft.com/office/drawing/2017/decorative" xmlns="" val="1"/>
              </a:ext>
            </a:extLst>
          </p:cNvPr>
          <p:cNvSpPr/>
          <p:nvPr/>
        </p:nvSpPr>
        <p:spPr>
          <a:xfrm>
            <a:off x="0" y="6477001"/>
            <a:ext cx="12192000" cy="378022"/>
          </a:xfrm>
          <a:prstGeom prst="rect">
            <a:avLst/>
          </a:prstGeom>
          <a:solidFill>
            <a:srgbClr val="15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ii</a:t>
            </a:r>
          </a:p>
        </p:txBody>
      </p:sp>
      <p:sp>
        <p:nvSpPr>
          <p:cNvPr id="8" name="Footer Placeholder 7">
            <a:extLst>
              <a:ext uri="{FF2B5EF4-FFF2-40B4-BE49-F238E27FC236}">
                <a16:creationId xmlns:a16="http://schemas.microsoft.com/office/drawing/2014/main" id="{10771694-4361-4ED1-9AC0-5BF6C6C54C69}"/>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4" name="Date Placeholder 3">
            <a:extLst>
              <a:ext uri="{FF2B5EF4-FFF2-40B4-BE49-F238E27FC236}">
                <a16:creationId xmlns:a16="http://schemas.microsoft.com/office/drawing/2014/main" id="{F2E9C2DC-924F-4990-874A-F02E57FF8A38}"/>
              </a:ext>
            </a:extLst>
          </p:cNvPr>
          <p:cNvSpPr>
            <a:spLocks noGrp="1"/>
          </p:cNvSpPr>
          <p:nvPr>
            <p:ph type="dt" sz="half" idx="14"/>
          </p:nvPr>
        </p:nvSpPr>
        <p:spPr/>
        <p:txBody>
          <a:bodyPr/>
          <a:lstStyle/>
          <a:p>
            <a:fld id="{F5019F62-AE58-4437-8D82-E61F92F03977}" type="datetime1">
              <a:rPr lang="en-US" smtClean="0"/>
              <a:pPr/>
              <a:t>3/8/2024</a:t>
            </a:fld>
            <a:endParaRPr lang="en-US" dirty="0"/>
          </a:p>
        </p:txBody>
      </p:sp>
      <p:sp>
        <p:nvSpPr>
          <p:cNvPr id="9" name="Slide Number Placeholder 8">
            <a:extLst>
              <a:ext uri="{FF2B5EF4-FFF2-40B4-BE49-F238E27FC236}">
                <a16:creationId xmlns:a16="http://schemas.microsoft.com/office/drawing/2014/main" id="{31AB4A80-C4BA-413D-A876-DE31E5909F4F}"/>
              </a:ext>
            </a:extLst>
          </p:cNvPr>
          <p:cNvSpPr>
            <a:spLocks noGrp="1"/>
          </p:cNvSpPr>
          <p:nvPr>
            <p:ph type="sldNum" sz="quarter" idx="16"/>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2284989301"/>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1_Two Content">
    <p:bg>
      <p:bgRef idx="1003">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C3A29-E569-4292-8F60-D0CDE4A2687F}"/>
              </a:ext>
            </a:extLst>
          </p:cNvPr>
          <p:cNvSpPr>
            <a:spLocks noGrp="1"/>
          </p:cNvSpPr>
          <p:nvPr>
            <p:ph type="title" hasCustomPrompt="1"/>
          </p:nvPr>
        </p:nvSpPr>
        <p:spPr/>
        <p:txBody>
          <a:bodyPr/>
          <a:lstStyle>
            <a:lvl1pPr>
              <a:defRPr>
                <a:solidFill>
                  <a:srgbClr val="184F24"/>
                </a:solidFill>
              </a:defRPr>
            </a:lvl1pPr>
          </a:lstStyle>
          <a:p>
            <a:r>
              <a:rPr lang="en-US"/>
              <a:t>Sustainability Title</a:t>
            </a:r>
          </a:p>
        </p:txBody>
      </p:sp>
      <p:sp>
        <p:nvSpPr>
          <p:cNvPr id="3" name="Content Placeholder 2"/>
          <p:cNvSpPr>
            <a:spLocks noGrp="1"/>
          </p:cNvSpPr>
          <p:nvPr>
            <p:ph sz="half" idx="1"/>
          </p:nvPr>
        </p:nvSpPr>
        <p:spPr>
          <a:xfrm>
            <a:off x="342900" y="1066800"/>
            <a:ext cx="5666897" cy="5090724"/>
          </a:xfrm>
        </p:spPr>
        <p:txBody>
          <a:bodyPr/>
          <a:lstStyle>
            <a:lvl1pPr>
              <a:defRPr>
                <a:solidFill>
                  <a:srgbClr val="184F24"/>
                </a:solidFill>
              </a:defRPr>
            </a:lvl1pPr>
            <a:lvl2pPr>
              <a:defRPr>
                <a:solidFill>
                  <a:schemeClr val="tx1"/>
                </a:solidFill>
              </a:defRPr>
            </a:lvl2pPr>
            <a:lvl3pPr>
              <a:defRPr>
                <a:solidFill>
                  <a:srgbClr val="184F24"/>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5266" y="1066800"/>
            <a:ext cx="5669280" cy="5110168"/>
          </a:xfrm>
        </p:spPr>
        <p:txBody>
          <a:bodyPr/>
          <a:lstStyle>
            <a:lvl1pPr>
              <a:defRPr>
                <a:solidFill>
                  <a:srgbClr val="184F24"/>
                </a:solidFill>
              </a:defRPr>
            </a:lvl1pPr>
            <a:lvl2pPr>
              <a:defRPr>
                <a:solidFill>
                  <a:schemeClr val="tx1"/>
                </a:solidFill>
              </a:defRPr>
            </a:lvl2pPr>
            <a:lvl3pPr>
              <a:defRPr>
                <a:solidFill>
                  <a:srgbClr val="184F24"/>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38B18AF7-7DCB-4351-A7B9-E126B4C7FD6C}"/>
              </a:ext>
              <a:ext uri="{C183D7F6-B498-43B3-948B-1728B52AA6E4}">
                <adec:decorative xmlns:adec="http://schemas.microsoft.com/office/drawing/2017/decorative" xmlns="" val="1"/>
              </a:ext>
            </a:extLst>
          </p:cNvPr>
          <p:cNvSpPr/>
          <p:nvPr/>
        </p:nvSpPr>
        <p:spPr>
          <a:xfrm>
            <a:off x="0" y="6477001"/>
            <a:ext cx="12192000" cy="378022"/>
          </a:xfrm>
          <a:prstGeom prst="rect">
            <a:avLst/>
          </a:prstGeom>
          <a:solidFill>
            <a:srgbClr val="15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ii</a:t>
            </a:r>
          </a:p>
        </p:txBody>
      </p:sp>
      <p:pic>
        <p:nvPicPr>
          <p:cNvPr id="9" name="Picture 8" descr="Green Build HSR logo">
            <a:extLst>
              <a:ext uri="{FF2B5EF4-FFF2-40B4-BE49-F238E27FC236}">
                <a16:creationId xmlns:a16="http://schemas.microsoft.com/office/drawing/2014/main" id="{65307F68-9277-41C8-A23F-78F9D3648F78}"/>
              </a:ext>
            </a:extLst>
          </p:cNvPr>
          <p:cNvPicPr>
            <a:picLocks noChangeAspect="1"/>
          </p:cNvPicPr>
          <p:nvPr/>
        </p:nvPicPr>
        <p:blipFill>
          <a:blip r:embed="rId2" cstate="email">
            <a:extLst>
              <a:ext uri="{BEBA8EAE-BF5A-486C-A8C5-ECC9F3942E4B}">
                <a14:imgProps xmlns:a14="http://schemas.microsoft.com/office/drawing/2010/main">
                  <a14:imgLayer r:embed="rId3">
                    <a14:imgEffect>
                      <a14:backgroundRemoval t="9091" b="90909" l="9140" r="89785">
                        <a14:foregroundMark x1="80645" y1="54067" x2="24194" y2="52632"/>
                        <a14:foregroundMark x1="24194" y1="52632" x2="50538" y2="65072"/>
                        <a14:foregroundMark x1="50538" y1="65072" x2="74731" y2="55502"/>
                        <a14:foregroundMark x1="74731" y1="55502" x2="75269" y2="54067"/>
                        <a14:foregroundMark x1="24731" y1="49761" x2="33333" y2="61244"/>
                        <a14:foregroundMark x1="30645" y1="11962" x2="59677" y2="11005"/>
                        <a14:foregroundMark x1="59677" y1="11005" x2="71505" y2="14354"/>
                        <a14:foregroundMark x1="71505" y1="14354" x2="45161" y2="9091"/>
                        <a14:foregroundMark x1="45161" y1="9091" x2="34409" y2="11483"/>
                        <a14:foregroundMark x1="39785" y1="44019" x2="23656" y2="63636"/>
                        <a14:foregroundMark x1="23656" y1="63636" x2="64516" y2="56459"/>
                        <a14:foregroundMark x1="64516" y1="56459" x2="66667" y2="49761"/>
                        <a14:foregroundMark x1="66667" y1="49761" x2="61290" y2="49282"/>
                        <a14:foregroundMark x1="32258" y1="64593" x2="27957" y2="66507"/>
                        <a14:foregroundMark x1="31183" y1="88038" x2="58065" y2="90909"/>
                        <a14:foregroundMark x1="58065" y1="90909" x2="72581" y2="88517"/>
                        <a14:foregroundMark x1="26882" y1="68421" x2="22043" y2="49282"/>
                      </a14:backgroundRemoval>
                    </a14:imgEffect>
                  </a14:imgLayer>
                </a14:imgProps>
              </a:ext>
              <a:ext uri="{28A0092B-C50C-407E-A947-70E740481C1C}">
                <a14:useLocalDpi xmlns:a14="http://schemas.microsoft.com/office/drawing/2010/main"/>
              </a:ext>
            </a:extLst>
          </a:blip>
          <a:stretch>
            <a:fillRect/>
          </a:stretch>
        </p:blipFill>
        <p:spPr>
          <a:xfrm>
            <a:off x="490763" y="5960820"/>
            <a:ext cx="811564" cy="897180"/>
          </a:xfrm>
          <a:prstGeom prst="rect">
            <a:avLst/>
          </a:prstGeom>
        </p:spPr>
      </p:pic>
      <p:sp>
        <p:nvSpPr>
          <p:cNvPr id="10" name="Footer Placeholder 9">
            <a:extLst>
              <a:ext uri="{FF2B5EF4-FFF2-40B4-BE49-F238E27FC236}">
                <a16:creationId xmlns:a16="http://schemas.microsoft.com/office/drawing/2014/main" id="{2CBE66BB-AF7B-4902-82E9-B74254A360DE}"/>
              </a:ext>
            </a:extLst>
          </p:cNvPr>
          <p:cNvSpPr>
            <a:spLocks noGrp="1"/>
          </p:cNvSpPr>
          <p:nvPr>
            <p:ph type="ftr" sz="quarter" idx="11"/>
          </p:nvPr>
        </p:nvSpPr>
        <p:spPr/>
        <p:txBody>
          <a:bodyPr/>
          <a:lstStyle/>
          <a:p>
            <a:r>
              <a:rPr lang="en-US" dirty="0"/>
              <a:t>Main title of PowerPoint – To edit search Master Slide and click on slide 1 </a:t>
            </a:r>
          </a:p>
        </p:txBody>
      </p:sp>
      <p:sp>
        <p:nvSpPr>
          <p:cNvPr id="8" name="Date Placeholder 7">
            <a:extLst>
              <a:ext uri="{FF2B5EF4-FFF2-40B4-BE49-F238E27FC236}">
                <a16:creationId xmlns:a16="http://schemas.microsoft.com/office/drawing/2014/main" id="{D4322D71-4BA5-4A55-864E-C4E25316FE8B}"/>
              </a:ext>
            </a:extLst>
          </p:cNvPr>
          <p:cNvSpPr>
            <a:spLocks noGrp="1"/>
          </p:cNvSpPr>
          <p:nvPr>
            <p:ph type="dt" sz="half" idx="10"/>
          </p:nvPr>
        </p:nvSpPr>
        <p:spPr/>
        <p:txBody>
          <a:bodyPr/>
          <a:lstStyle/>
          <a:p>
            <a:fld id="{F5019F62-AE58-4437-8D82-E61F92F03977}" type="datetime1">
              <a:rPr lang="en-US" smtClean="0"/>
              <a:pPr/>
              <a:t>3/8/2024</a:t>
            </a:fld>
            <a:endParaRPr lang="en-US" dirty="0"/>
          </a:p>
        </p:txBody>
      </p:sp>
      <p:sp>
        <p:nvSpPr>
          <p:cNvPr id="11" name="Slide Number Placeholder 10">
            <a:extLst>
              <a:ext uri="{FF2B5EF4-FFF2-40B4-BE49-F238E27FC236}">
                <a16:creationId xmlns:a16="http://schemas.microsoft.com/office/drawing/2014/main" id="{0773E14B-E271-4F38-B555-803E45904526}"/>
              </a:ext>
            </a:extLst>
          </p:cNvPr>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141577183"/>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ustom Layout">
    <p:bg>
      <p:bgRef idx="1003">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686FD5D-AEB4-4FB0-95E2-2212CEDEB1E4}"/>
              </a:ext>
              <a:ext uri="{C183D7F6-B498-43B3-948B-1728B52AA6E4}">
                <adec:decorative xmlns:adec="http://schemas.microsoft.com/office/drawing/2017/decorative" xmlns="" val="1"/>
              </a:ext>
            </a:extLst>
          </p:cNvPr>
          <p:cNvSpPr/>
          <p:nvPr/>
        </p:nvSpPr>
        <p:spPr>
          <a:xfrm>
            <a:off x="0" y="6477001"/>
            <a:ext cx="12192000" cy="378022"/>
          </a:xfrm>
          <a:prstGeom prst="rect">
            <a:avLst/>
          </a:prstGeom>
          <a:solidFill>
            <a:srgbClr val="15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 dirty="0"/>
              <a:t>ii</a:t>
            </a:r>
          </a:p>
        </p:txBody>
      </p:sp>
      <p:sp>
        <p:nvSpPr>
          <p:cNvPr id="3" name="Title 2">
            <a:extLst>
              <a:ext uri="{FF2B5EF4-FFF2-40B4-BE49-F238E27FC236}">
                <a16:creationId xmlns:a16="http://schemas.microsoft.com/office/drawing/2014/main" id="{DECA1541-AB5E-4B0A-9424-851ABCABFCCE}"/>
              </a:ext>
            </a:extLst>
          </p:cNvPr>
          <p:cNvSpPr>
            <a:spLocks noGrp="1"/>
          </p:cNvSpPr>
          <p:nvPr>
            <p:ph type="title" hasCustomPrompt="1"/>
          </p:nvPr>
        </p:nvSpPr>
        <p:spPr/>
        <p:txBody>
          <a:bodyPr/>
          <a:lstStyle>
            <a:lvl1pPr>
              <a:defRPr>
                <a:solidFill>
                  <a:srgbClr val="184F24"/>
                </a:solidFill>
              </a:defRPr>
            </a:lvl1pPr>
          </a:lstStyle>
          <a:p>
            <a:r>
              <a:rPr lang="en-US"/>
              <a:t>Sustainability Title</a:t>
            </a:r>
          </a:p>
        </p:txBody>
      </p:sp>
      <p:sp>
        <p:nvSpPr>
          <p:cNvPr id="15" name="Content Placeholder 2">
            <a:extLst>
              <a:ext uri="{FF2B5EF4-FFF2-40B4-BE49-F238E27FC236}">
                <a16:creationId xmlns:a16="http://schemas.microsoft.com/office/drawing/2014/main" id="{DE6A2957-1B9A-481E-92C0-CA9163B415EA}"/>
              </a:ext>
            </a:extLst>
          </p:cNvPr>
          <p:cNvSpPr>
            <a:spLocks noGrp="1"/>
          </p:cNvSpPr>
          <p:nvPr>
            <p:ph sz="half" idx="1"/>
          </p:nvPr>
        </p:nvSpPr>
        <p:spPr>
          <a:xfrm>
            <a:off x="342900" y="1066800"/>
            <a:ext cx="11468101" cy="5090724"/>
          </a:xfrm>
        </p:spPr>
        <p:txBody>
          <a:bodyPr/>
          <a:lstStyle>
            <a:lvl1pPr>
              <a:defRPr>
                <a:solidFill>
                  <a:srgbClr val="184F24"/>
                </a:solidFill>
              </a:defRPr>
            </a:lvl1pPr>
            <a:lvl2pPr>
              <a:defRPr>
                <a:solidFill>
                  <a:schemeClr val="tx1"/>
                </a:solidFill>
              </a:defRPr>
            </a:lvl2pPr>
            <a:lvl3pPr>
              <a:defRPr>
                <a:solidFill>
                  <a:srgbClr val="184F24"/>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descr="Green Build HSR logo">
            <a:extLst>
              <a:ext uri="{FF2B5EF4-FFF2-40B4-BE49-F238E27FC236}">
                <a16:creationId xmlns:a16="http://schemas.microsoft.com/office/drawing/2014/main" id="{547A06F0-793A-4264-AB27-EAD674D034F4}"/>
              </a:ext>
            </a:extLst>
          </p:cNvPr>
          <p:cNvPicPr>
            <a:picLocks noChangeAspect="1"/>
          </p:cNvPicPr>
          <p:nvPr/>
        </p:nvPicPr>
        <p:blipFill>
          <a:blip r:embed="rId2" cstate="email">
            <a:extLst>
              <a:ext uri="{BEBA8EAE-BF5A-486C-A8C5-ECC9F3942E4B}">
                <a14:imgProps xmlns:a14="http://schemas.microsoft.com/office/drawing/2010/main">
                  <a14:imgLayer r:embed="rId3">
                    <a14:imgEffect>
                      <a14:backgroundRemoval t="9091" b="90909" l="9140" r="89785">
                        <a14:foregroundMark x1="80645" y1="54067" x2="24194" y2="52632"/>
                        <a14:foregroundMark x1="24194" y1="52632" x2="50538" y2="65072"/>
                        <a14:foregroundMark x1="50538" y1="65072" x2="74731" y2="55502"/>
                        <a14:foregroundMark x1="74731" y1="55502" x2="75269" y2="54067"/>
                        <a14:foregroundMark x1="24731" y1="49761" x2="33333" y2="61244"/>
                        <a14:foregroundMark x1="30645" y1="11962" x2="59677" y2="11005"/>
                        <a14:foregroundMark x1="59677" y1="11005" x2="71505" y2="14354"/>
                        <a14:foregroundMark x1="71505" y1="14354" x2="45161" y2="9091"/>
                        <a14:foregroundMark x1="45161" y1="9091" x2="34409" y2="11483"/>
                        <a14:foregroundMark x1="39785" y1="44019" x2="23656" y2="63636"/>
                        <a14:foregroundMark x1="23656" y1="63636" x2="64516" y2="56459"/>
                        <a14:foregroundMark x1="64516" y1="56459" x2="66667" y2="49761"/>
                        <a14:foregroundMark x1="66667" y1="49761" x2="61290" y2="49282"/>
                        <a14:foregroundMark x1="32258" y1="64593" x2="27957" y2="66507"/>
                        <a14:foregroundMark x1="31183" y1="88038" x2="58065" y2="90909"/>
                        <a14:foregroundMark x1="58065" y1="90909" x2="72581" y2="88517"/>
                        <a14:foregroundMark x1="26882" y1="68421" x2="22043" y2="49282"/>
                      </a14:backgroundRemoval>
                    </a14:imgEffect>
                  </a14:imgLayer>
                </a14:imgProps>
              </a:ext>
              <a:ext uri="{28A0092B-C50C-407E-A947-70E740481C1C}">
                <a14:useLocalDpi xmlns:a14="http://schemas.microsoft.com/office/drawing/2010/main"/>
              </a:ext>
            </a:extLst>
          </a:blip>
          <a:stretch>
            <a:fillRect/>
          </a:stretch>
        </p:blipFill>
        <p:spPr>
          <a:xfrm>
            <a:off x="490763" y="5960820"/>
            <a:ext cx="819563" cy="897180"/>
          </a:xfrm>
          <a:prstGeom prst="rect">
            <a:avLst/>
          </a:prstGeom>
        </p:spPr>
      </p:pic>
      <p:sp>
        <p:nvSpPr>
          <p:cNvPr id="6" name="Footer Placeholder 5">
            <a:extLst>
              <a:ext uri="{FF2B5EF4-FFF2-40B4-BE49-F238E27FC236}">
                <a16:creationId xmlns:a16="http://schemas.microsoft.com/office/drawing/2014/main" id="{DD721394-827A-4632-9348-A32A82DB0295}"/>
              </a:ext>
            </a:extLst>
          </p:cNvPr>
          <p:cNvSpPr>
            <a:spLocks noGrp="1"/>
          </p:cNvSpPr>
          <p:nvPr>
            <p:ph type="ftr" sz="quarter" idx="15"/>
          </p:nvPr>
        </p:nvSpPr>
        <p:spPr/>
        <p:txBody>
          <a:bodyPr/>
          <a:lstStyle/>
          <a:p>
            <a:r>
              <a:rPr lang="en-US" dirty="0"/>
              <a:t>Main title of PowerPoint – To edit search Master Slide and click on slide 1 </a:t>
            </a:r>
          </a:p>
        </p:txBody>
      </p:sp>
      <p:sp>
        <p:nvSpPr>
          <p:cNvPr id="2" name="Date Placeholder 1">
            <a:extLst>
              <a:ext uri="{FF2B5EF4-FFF2-40B4-BE49-F238E27FC236}">
                <a16:creationId xmlns:a16="http://schemas.microsoft.com/office/drawing/2014/main" id="{172D1F55-C02A-4D80-BCE4-527D13985C18}"/>
              </a:ext>
            </a:extLst>
          </p:cNvPr>
          <p:cNvSpPr>
            <a:spLocks noGrp="1"/>
          </p:cNvSpPr>
          <p:nvPr>
            <p:ph type="dt" sz="half" idx="14"/>
          </p:nvPr>
        </p:nvSpPr>
        <p:spPr/>
        <p:txBody>
          <a:bodyPr/>
          <a:lstStyle/>
          <a:p>
            <a:fld id="{F5019F62-AE58-4437-8D82-E61F92F03977}" type="datetime1">
              <a:rPr lang="en-US" smtClean="0"/>
              <a:pPr/>
              <a:t>3/8/2024</a:t>
            </a:fld>
            <a:endParaRPr lang="en-US" dirty="0"/>
          </a:p>
        </p:txBody>
      </p:sp>
      <p:sp>
        <p:nvSpPr>
          <p:cNvPr id="7" name="Slide Number Placeholder 6">
            <a:extLst>
              <a:ext uri="{FF2B5EF4-FFF2-40B4-BE49-F238E27FC236}">
                <a16:creationId xmlns:a16="http://schemas.microsoft.com/office/drawing/2014/main" id="{9476C38F-8F12-4C09-9AD2-40B4024978CD}"/>
              </a:ext>
            </a:extLst>
          </p:cNvPr>
          <p:cNvSpPr>
            <a:spLocks noGrp="1"/>
          </p:cNvSpPr>
          <p:nvPr>
            <p:ph type="sldNum" sz="quarter" idx="16"/>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91832462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39D96-D19F-0C76-C82A-F7AF14F446D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F42610-9FFD-9558-5271-8FCC05055F2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AB5EE6-3FAE-018F-CB93-DDBB637DE4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302DF5-AE31-5559-3F31-37A7AD5EA1E4}"/>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6" name="Footer Placeholder 5">
            <a:extLst>
              <a:ext uri="{FF2B5EF4-FFF2-40B4-BE49-F238E27FC236}">
                <a16:creationId xmlns:a16="http://schemas.microsoft.com/office/drawing/2014/main" id="{41DC90B2-A74E-F665-3F04-86582FBE660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0B04A50-3E9C-45F2-DC5A-3FCC4EF1567F}"/>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371550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Main title of PowerPoint – To edit search Master Slide and click on slide 1 </a:t>
            </a:r>
          </a:p>
        </p:txBody>
      </p:sp>
      <p:sp>
        <p:nvSpPr>
          <p:cNvPr id="4" name="Date Placeholder 3"/>
          <p:cNvSpPr>
            <a:spLocks noGrp="1"/>
          </p:cNvSpPr>
          <p:nvPr>
            <p:ph type="dt" sz="half" idx="10"/>
          </p:nvPr>
        </p:nvSpPr>
        <p:spPr/>
        <p:txBody>
          <a:bodyPr/>
          <a:lstStyle/>
          <a:p>
            <a:fld id="{F5019F62-AE58-4437-8D82-E61F92F03977}" type="datetime1">
              <a:rPr lang="en-US" smtClean="0"/>
              <a:pPr/>
              <a:t>3/8/2024</a:t>
            </a:fld>
            <a:endParaRPr lang="en-US" dirty="0"/>
          </a:p>
        </p:txBody>
      </p:sp>
      <p:sp>
        <p:nvSpPr>
          <p:cNvPr id="6" name="Slide Number Placeholder 5"/>
          <p:cNvSpPr>
            <a:spLocks noGrp="1"/>
          </p:cNvSpPr>
          <p:nvPr>
            <p:ph type="sldNum" sz="quarter" idx="12"/>
          </p:nvPr>
        </p:nvSpPr>
        <p:spPr/>
        <p:txBody>
          <a:body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15968903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CEO Report</a:t>
            </a:r>
          </a:p>
        </p:txBody>
      </p:sp>
      <p:sp>
        <p:nvSpPr>
          <p:cNvPr id="4" name="Date Placeholder 3"/>
          <p:cNvSpPr>
            <a:spLocks noGrp="1"/>
          </p:cNvSpPr>
          <p:nvPr>
            <p:ph type="dt" sz="half" idx="10"/>
          </p:nvPr>
        </p:nvSpPr>
        <p:spPr/>
        <p:txBody>
          <a:bodyPr/>
          <a:lstStyle/>
          <a:p>
            <a:fld id="{EF9831D3-DFF1-4272-B0FE-AA6EEBF5A85E}" type="datetime1">
              <a:rPr lang="en-US" smtClean="0"/>
              <a:t>3/8/2024</a:t>
            </a:fld>
            <a:endParaRPr lang="en-US" dirty="0"/>
          </a:p>
        </p:txBody>
      </p:sp>
      <p:sp>
        <p:nvSpPr>
          <p:cNvPr id="6" name="Slide Number Placeholder 5"/>
          <p:cNvSpPr>
            <a:spLocks noGrp="1"/>
          </p:cNvSpPr>
          <p:nvPr>
            <p:ph type="sldNum" sz="quarter" idx="12"/>
          </p:nvPr>
        </p:nvSpPr>
        <p:spPr/>
        <p:txBody>
          <a:bodyPr/>
          <a:lstStyle/>
          <a:p>
            <a:fld id="{9F845ACB-6A9C-4D80-856D-F33308202576}" type="slidenum">
              <a:rPr lang="en-US" smtClean="0"/>
              <a:t>‹#›</a:t>
            </a:fld>
            <a:endParaRPr lang="en-US" dirty="0"/>
          </a:p>
        </p:txBody>
      </p:sp>
    </p:spTree>
    <p:extLst>
      <p:ext uri="{BB962C8B-B14F-4D97-AF65-F5344CB8AC3E}">
        <p14:creationId xmlns:p14="http://schemas.microsoft.com/office/powerpoint/2010/main" val="15408495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5646" y="3134042"/>
            <a:ext cx="11714921"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275645" y="5521642"/>
            <a:ext cx="10363200" cy="48954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F184C9DD-C7A5-4BE9-887E-FE90AC9B3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1" y="0"/>
            <a:ext cx="12192000" cy="3657600"/>
          </a:xfrm>
          <a:prstGeom prst="rect">
            <a:avLst/>
          </a:prstGeom>
        </p:spPr>
      </p:pic>
    </p:spTree>
    <p:extLst>
      <p:ext uri="{BB962C8B-B14F-4D97-AF65-F5344CB8AC3E}">
        <p14:creationId xmlns:p14="http://schemas.microsoft.com/office/powerpoint/2010/main" val="20561372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1968542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9124703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6296541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0585427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3190951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33935385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547518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AF895-03BF-3FB7-42F7-B5F4AF6941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1EA02DD-12ED-7959-D094-27B702C8B13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6F8E8B-942B-A2BE-EE5F-D80950AD42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C868E63-A706-31A4-D956-7E693CDEB2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112CBC-03A1-5FFE-9A31-104833025E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B77A97C-2E3A-2092-95C3-7B9782995F7D}"/>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8" name="Footer Placeholder 7">
            <a:extLst>
              <a:ext uri="{FF2B5EF4-FFF2-40B4-BE49-F238E27FC236}">
                <a16:creationId xmlns:a16="http://schemas.microsoft.com/office/drawing/2014/main" id="{4CF888F7-85BB-CC96-9CD6-E58ADC6F4A0C}"/>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32396F7-1F0A-6CED-E951-936EDC6F475F}"/>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3842036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217627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37415093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457200"/>
            <a:fld id="{1E05C087-9995-437D-BEFE-69C44E98D243}" type="datetimeFigureOut">
              <a:rPr lang="en-US" smtClean="0">
                <a:solidFill>
                  <a:prstClr val="black"/>
                </a:solidFill>
              </a:rPr>
              <a:pPr defTabSz="457200"/>
              <a:t>3/8/2024</a:t>
            </a:fld>
            <a:endParaRPr lang="en-US" dirty="0">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457200"/>
            <a:fld id="{65768216-1D94-44AD-8462-418EF629B421}"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50306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E8733-793A-48F4-8ADF-04A553AC66DC}"/>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8A1A934-270F-47B3-B1E9-7F6BEB3B47E7}"/>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039B0F9-0B77-41E5-B5DF-FA75B812ADF8}"/>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114FBDAA-D924-43E4-ABBB-887EC54C8E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076F101-2778-4861-9748-F9BC9FB87345}"/>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13894129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29048-DE86-4519-9A85-A1AE2EC187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7884E4-8D2E-4DC4-9D7C-4F2E3FC728A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D18839-30B5-49C7-A9DC-2A547B1ADA86}"/>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7548EEF5-2131-46EA-9C95-9457C6FD676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52B2BD2-8BF4-490C-BB2A-7E7057129F86}"/>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40984645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45CEC-020A-44DA-921E-FA84AC4A1B8E}"/>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5EBD31AA-CE16-470E-92A7-D0D1B1AA1869}"/>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895401F-BC3F-4DDD-8D95-22A9838391E0}"/>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9A24CD94-33E4-4487-B5EB-F8A7FAC4D1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C987ADC-FC71-440D-B775-C10E65196662}"/>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24700476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A8B07-B1B4-4F06-8E2A-22EB3F3EBF6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7E94100-CB82-4A52-BFEB-463864D57C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1A0CF3-AC20-4F99-B40A-57D0142634D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0C375C-6AAF-49DB-ABA7-C011FF8E0ACE}"/>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6" name="Footer Placeholder 5">
            <a:extLst>
              <a:ext uri="{FF2B5EF4-FFF2-40B4-BE49-F238E27FC236}">
                <a16:creationId xmlns:a16="http://schemas.microsoft.com/office/drawing/2014/main" id="{F155A896-4F34-49E5-B4F6-E03ED305C9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9661ED8-C4B6-45E3-8B06-7961377D64AF}"/>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1478616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01BAB-9666-4B09-A446-C0D3AF20E5A5}"/>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6EDEC6-89C0-4DB6-8650-770057DEC444}"/>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B5C3ADD9-3657-4156-A7B6-B5DE6EAAD68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CB888-2927-46F3-AC31-C1A1998CE177}"/>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411EA1F-6604-4476-8AF8-32D80B733A41}"/>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DC34411-B8CE-4CDB-8646-DB64CA9C792A}"/>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8" name="Footer Placeholder 7">
            <a:extLst>
              <a:ext uri="{FF2B5EF4-FFF2-40B4-BE49-F238E27FC236}">
                <a16:creationId xmlns:a16="http://schemas.microsoft.com/office/drawing/2014/main" id="{4B2B56DE-7AD5-4BE6-BE64-EDAF5C1A3B6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0E1B109-87AF-40F6-81A9-3CEC4886FB37}"/>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556284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DFD3B-DB36-41B8-B14C-98146F4B9832}"/>
              </a:ext>
            </a:extLst>
          </p:cNvPr>
          <p:cNvSpPr>
            <a:spLocks noGrp="1"/>
          </p:cNvSpPr>
          <p:nvPr>
            <p:ph type="title"/>
          </p:nvPr>
        </p:nvSpPr>
        <p:spPr>
          <a:xfrm>
            <a:off x="226853" y="267867"/>
            <a:ext cx="10858500" cy="577850"/>
          </a:xfrm>
        </p:spPr>
        <p:txBody>
          <a:bodyPr>
            <a:noAutofit/>
          </a:bodyPr>
          <a:lstStyle>
            <a:lvl1pPr>
              <a:defRPr sz="2400" b="1">
                <a:solidFill>
                  <a:schemeClr val="accent1">
                    <a:lumMod val="75000"/>
                  </a:schemeClr>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0047137D-6608-49F8-BA1A-82707503D4EB}"/>
              </a:ext>
            </a:extLst>
          </p:cNvPr>
          <p:cNvSpPr>
            <a:spLocks noGrp="1"/>
          </p:cNvSpPr>
          <p:nvPr>
            <p:ph type="sldNum" sz="quarter" idx="12"/>
          </p:nvPr>
        </p:nvSpPr>
        <p:spPr>
          <a:xfrm>
            <a:off x="226852" y="6407572"/>
            <a:ext cx="850784" cy="365125"/>
          </a:xfrm>
        </p:spPr>
        <p:txBody>
          <a:bodyPr/>
          <a:lstStyle>
            <a:lvl1pPr algn="l">
              <a:defRPr sz="750"/>
            </a:lvl1pPr>
          </a:lstStyle>
          <a:p>
            <a:fld id="{A82F8571-53DF-4AE7-A73C-75D8329879AC}" type="slidenum">
              <a:rPr lang="en-US" smtClean="0"/>
              <a:pPr/>
              <a:t>‹#›</a:t>
            </a:fld>
            <a:endParaRPr lang="en-US" dirty="0"/>
          </a:p>
        </p:txBody>
      </p:sp>
    </p:spTree>
    <p:extLst>
      <p:ext uri="{BB962C8B-B14F-4D97-AF65-F5344CB8AC3E}">
        <p14:creationId xmlns:p14="http://schemas.microsoft.com/office/powerpoint/2010/main" val="4241518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E32125A-AA96-40EC-97FE-C9910721951A}"/>
              </a:ext>
            </a:extLst>
          </p:cNvPr>
          <p:cNvSpPr>
            <a:spLocks noGrp="1"/>
          </p:cNvSpPr>
          <p:nvPr>
            <p:ph type="sldNum" sz="quarter" idx="12"/>
          </p:nvPr>
        </p:nvSpPr>
        <p:spPr>
          <a:xfrm>
            <a:off x="226852" y="6407572"/>
            <a:ext cx="850784" cy="365125"/>
          </a:xfrm>
        </p:spPr>
        <p:txBody>
          <a:bodyPr/>
          <a:lstStyle>
            <a:lvl1pPr algn="l">
              <a:defRPr sz="750"/>
            </a:lvl1pPr>
          </a:lstStyle>
          <a:p>
            <a:fld id="{A82F8571-53DF-4AE7-A73C-75D8329879AC}" type="slidenum">
              <a:rPr lang="en-US" smtClean="0"/>
              <a:pPr/>
              <a:t>‹#›</a:t>
            </a:fld>
            <a:endParaRPr lang="en-US" dirty="0"/>
          </a:p>
        </p:txBody>
      </p:sp>
    </p:spTree>
    <p:extLst>
      <p:ext uri="{BB962C8B-B14F-4D97-AF65-F5344CB8AC3E}">
        <p14:creationId xmlns:p14="http://schemas.microsoft.com/office/powerpoint/2010/main" val="433311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5C745-5D83-8CC5-55E9-C0E6ED1DA5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43EB70-4169-C61E-5DFE-FBC861A1E5F8}"/>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4" name="Footer Placeholder 3">
            <a:extLst>
              <a:ext uri="{FF2B5EF4-FFF2-40B4-BE49-F238E27FC236}">
                <a16:creationId xmlns:a16="http://schemas.microsoft.com/office/drawing/2014/main" id="{F77642EF-C702-97A6-AB8F-6DA7BF87DD0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9E349DF-F7D5-2F70-F8E1-F60C0682EE6C}"/>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42126900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0421C-2C25-417B-9085-92939FD776FF}"/>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1C15F1B-F7F1-4BAD-843F-D37D9D7F8D09}"/>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D067663-13D4-452B-9E4A-FBE0639D8C2B}"/>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98226CC-07CC-4FFC-818F-66B1CF392E83}"/>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6" name="Footer Placeholder 5">
            <a:extLst>
              <a:ext uri="{FF2B5EF4-FFF2-40B4-BE49-F238E27FC236}">
                <a16:creationId xmlns:a16="http://schemas.microsoft.com/office/drawing/2014/main" id="{082FCE77-3C6C-4D7C-9D4A-0D93A70D505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07D559A-B60E-4501-A247-B902BE19EC2C}"/>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42007102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4B8A3-808F-4B1E-A0A8-3F7CEAAFFC08}"/>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75AD6E5-CA1B-4C30-98A2-497D313F7D3F}"/>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20F5C404-31B3-4292-8919-72C2DB993E6C}"/>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CABDC2D-141B-4C5A-9140-41F92DCBCC91}"/>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6" name="Footer Placeholder 5">
            <a:extLst>
              <a:ext uri="{FF2B5EF4-FFF2-40B4-BE49-F238E27FC236}">
                <a16:creationId xmlns:a16="http://schemas.microsoft.com/office/drawing/2014/main" id="{DFBCEEE1-3916-44F3-BEFD-CDC46F13AF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B4828C5-898D-4A00-873A-AA29CAFA4E96}"/>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14322616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387F8-EC13-49D7-9213-C438E978885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BC2E5A-71B7-4BC5-9DB9-80385DEEC45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BCB309-B1EE-4D72-AB19-93C5B9BB51DA}"/>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330962E7-5F52-4CBC-AF16-B0E7BB48A4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C0FB3AA-DCA0-47FB-B8A4-5EA81FAFEDF4}"/>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5651794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187A37-ABC9-4F30-817B-AAD9751CAE54}"/>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0028E61-CF44-4464-BC6A-C0118E75795D}"/>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85710B-6F61-4233-A717-A48A8390008E}"/>
              </a:ext>
            </a:extLst>
          </p:cNvPr>
          <p:cNvSpPr>
            <a:spLocks noGrp="1"/>
          </p:cNvSpPr>
          <p:nvPr>
            <p:ph type="dt" sz="half" idx="10"/>
          </p:nvPr>
        </p:nvSpPr>
        <p:spPr/>
        <p:txBody>
          <a:body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E50D7DDE-DC90-43CF-B3E4-124930294C4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B549261-FB48-4EF8-8B55-7BE5B413B127}"/>
              </a:ext>
            </a:extLst>
          </p:cNvPr>
          <p:cNvSpPr>
            <a:spLocks noGrp="1"/>
          </p:cNvSpPr>
          <p:nvPr>
            <p:ph type="sldNum" sz="quarter" idx="12"/>
          </p:nvPr>
        </p:nvSpPr>
        <p:spPr/>
        <p:txBody>
          <a:bodyPr/>
          <a:lstStyle/>
          <a:p>
            <a:fld id="{A82F8571-53DF-4AE7-A73C-75D8329879AC}" type="slidenum">
              <a:rPr lang="en-US" smtClean="0"/>
              <a:t>‹#›</a:t>
            </a:fld>
            <a:endParaRPr lang="en-US" dirty="0"/>
          </a:p>
        </p:txBody>
      </p:sp>
    </p:spTree>
    <p:extLst>
      <p:ext uri="{BB962C8B-B14F-4D97-AF65-F5344CB8AC3E}">
        <p14:creationId xmlns:p14="http://schemas.microsoft.com/office/powerpoint/2010/main" val="649555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1CC2F3-F209-8B39-CDB7-0CA79ED966DD}"/>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3" name="Footer Placeholder 2">
            <a:extLst>
              <a:ext uri="{FF2B5EF4-FFF2-40B4-BE49-F238E27FC236}">
                <a16:creationId xmlns:a16="http://schemas.microsoft.com/office/drawing/2014/main" id="{FC7CB29E-57B3-8CEC-CD39-7904B074F2E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7D8B7D-FA40-2DDC-88F0-4D38EB23E8AB}"/>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742643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DFE00-CE33-B0D0-3717-B9EABF4194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8E08DE-C704-BF11-A12E-52CB337B38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C8DB62-8F0B-F1DF-2788-ADADF2E6A8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3C2E25-FB89-1619-34E6-1E37AF004B83}"/>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6" name="Footer Placeholder 5">
            <a:extLst>
              <a:ext uri="{FF2B5EF4-FFF2-40B4-BE49-F238E27FC236}">
                <a16:creationId xmlns:a16="http://schemas.microsoft.com/office/drawing/2014/main" id="{591B85E5-080B-777E-E133-B9E8258AF9C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C297B5D-FA54-6851-27E8-CEC98F8BE0E1}"/>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252230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FD1AC-3E75-A0B6-89A9-76CED61B08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886C56-9642-C1A9-5797-BBDED13D8B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571B55F-45A9-8C8F-A870-0312E4C517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6A06E3-DE88-2A80-4FF3-B4B09B0953F4}"/>
              </a:ext>
            </a:extLst>
          </p:cNvPr>
          <p:cNvSpPr>
            <a:spLocks noGrp="1"/>
          </p:cNvSpPr>
          <p:nvPr>
            <p:ph type="dt" sz="half" idx="10"/>
          </p:nvPr>
        </p:nvSpPr>
        <p:spPr/>
        <p:txBody>
          <a:bodyPr/>
          <a:lstStyle/>
          <a:p>
            <a:fld id="{F855F4B3-E1C7-4CE4-9324-59A8E7C360CF}" type="datetimeFigureOut">
              <a:rPr lang="en-US" smtClean="0"/>
              <a:t>3/8/2024</a:t>
            </a:fld>
            <a:endParaRPr lang="en-US" dirty="0"/>
          </a:p>
        </p:txBody>
      </p:sp>
      <p:sp>
        <p:nvSpPr>
          <p:cNvPr id="6" name="Footer Placeholder 5">
            <a:extLst>
              <a:ext uri="{FF2B5EF4-FFF2-40B4-BE49-F238E27FC236}">
                <a16:creationId xmlns:a16="http://schemas.microsoft.com/office/drawing/2014/main" id="{0F0B3B6D-3009-88F0-AE36-16FBDABF67B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B28C000-BBC2-B1A1-7760-35E16D6F278F}"/>
              </a:ext>
            </a:extLst>
          </p:cNvPr>
          <p:cNvSpPr>
            <a:spLocks noGrp="1"/>
          </p:cNvSpPr>
          <p:nvPr>
            <p:ph type="sldNum" sz="quarter" idx="12"/>
          </p:nvPr>
        </p:nvSpPr>
        <p:spPr/>
        <p:txBody>
          <a:bodyPr/>
          <a:lstStyle/>
          <a:p>
            <a:fld id="{1B1782D6-735D-4FE5-A7D1-229DF6D467F9}" type="slidenum">
              <a:rPr lang="en-US" smtClean="0"/>
              <a:t>‹#›</a:t>
            </a:fld>
            <a:endParaRPr lang="en-US" dirty="0"/>
          </a:p>
        </p:txBody>
      </p:sp>
    </p:spTree>
    <p:extLst>
      <p:ext uri="{BB962C8B-B14F-4D97-AF65-F5344CB8AC3E}">
        <p14:creationId xmlns:p14="http://schemas.microsoft.com/office/powerpoint/2010/main" val="15770349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image" Target="../media/image2.emf"/><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tags" Target="../tags/tag1.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theme" Target="../theme/theme2.xml"/><Relationship Id="rId35" Type="http://schemas.openxmlformats.org/officeDocument/2006/relationships/image" Target="../media/image3.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8.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21.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C16709-6F0B-38E2-6FFD-7935290367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9F12A4-8304-570D-1A98-1AF220F07F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786D9A-55F3-F31A-30CF-DE7C255B4A2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55F4B3-E1C7-4CE4-9324-59A8E7C360CF}" type="datetimeFigureOut">
              <a:rPr lang="en-US" smtClean="0"/>
              <a:t>3/8/2024</a:t>
            </a:fld>
            <a:endParaRPr lang="en-US" dirty="0"/>
          </a:p>
        </p:txBody>
      </p:sp>
      <p:sp>
        <p:nvSpPr>
          <p:cNvPr id="5" name="Footer Placeholder 4">
            <a:extLst>
              <a:ext uri="{FF2B5EF4-FFF2-40B4-BE49-F238E27FC236}">
                <a16:creationId xmlns:a16="http://schemas.microsoft.com/office/drawing/2014/main" id="{068BE61F-AF24-D969-B3C6-B9BA901ECE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DF8AAC3-48EA-7C6F-8F65-E933F34C4B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1782D6-735D-4FE5-A7D1-229DF6D467F9}" type="slidenum">
              <a:rPr lang="en-US" smtClean="0"/>
              <a:t>‹#›</a:t>
            </a:fld>
            <a:endParaRPr lang="en-US" dirty="0"/>
          </a:p>
        </p:txBody>
      </p:sp>
    </p:spTree>
    <p:extLst>
      <p:ext uri="{BB962C8B-B14F-4D97-AF65-F5344CB8AC3E}">
        <p14:creationId xmlns:p14="http://schemas.microsoft.com/office/powerpoint/2010/main" val="16535493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41BDA8F-7B47-A0E8-1F89-DDABF3D17ED5}"/>
              </a:ext>
            </a:extLst>
          </p:cNvPr>
          <p:cNvGraphicFramePr>
            <a:graphicFrameLocks noChangeAspect="1"/>
          </p:cNvGraphicFramePr>
          <p:nvPr userDrawn="1">
            <p:custDataLst>
              <p:tags r:id="rId32"/>
            </p:custDataLst>
            <p:extLst>
              <p:ext uri="{D42A27DB-BD31-4B8C-83A1-F6EECF244321}">
                <p14:modId xmlns:p14="http://schemas.microsoft.com/office/powerpoint/2010/main" val="308955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3" imgW="484" imgH="486" progId="TCLayout.ActiveDocument.1">
                  <p:embed/>
                </p:oleObj>
              </mc:Choice>
              <mc:Fallback>
                <p:oleObj name="think-cell Slide" r:id="rId33" imgW="484" imgH="486" progId="TCLayout.ActiveDocument.1">
                  <p:embed/>
                  <p:pic>
                    <p:nvPicPr>
                      <p:cNvPr id="12" name="think-cell data - do not delete" hidden="1">
                        <a:extLst>
                          <a:ext uri="{FF2B5EF4-FFF2-40B4-BE49-F238E27FC236}">
                            <a16:creationId xmlns:a16="http://schemas.microsoft.com/office/drawing/2014/main" id="{241BDA8F-7B47-A0E8-1F89-DDABF3D17ED5}"/>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2900" y="119207"/>
            <a:ext cx="11468101" cy="8159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42900" y="1066800"/>
            <a:ext cx="11468100" cy="51101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CBE2D4AD-CBDF-457A-86F7-91C0419B9C61}"/>
              </a:ext>
              <a:ext uri="{C183D7F6-B498-43B3-948B-1728B52AA6E4}">
                <adec:decorative xmlns:adec="http://schemas.microsoft.com/office/drawing/2017/decorative" xmlns="" val="1"/>
              </a:ext>
            </a:extLst>
          </p:cNvPr>
          <p:cNvSpPr/>
          <p:nvPr/>
        </p:nvSpPr>
        <p:spPr>
          <a:xfrm>
            <a:off x="0" y="6477000"/>
            <a:ext cx="12192000" cy="38100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dirty="0"/>
          </a:p>
        </p:txBody>
      </p:sp>
      <p:pic>
        <p:nvPicPr>
          <p:cNvPr id="8" name="Graphic 7">
            <a:extLst>
              <a:ext uri="{FF2B5EF4-FFF2-40B4-BE49-F238E27FC236}">
                <a16:creationId xmlns:a16="http://schemas.microsoft.com/office/drawing/2014/main" id="{C3C88A4B-1BFB-415D-B905-480259B52D7C}"/>
              </a:ext>
              <a:ext uri="{C183D7F6-B498-43B3-948B-1728B52AA6E4}">
                <adec:decorative xmlns:adec="http://schemas.microsoft.com/office/drawing/2017/decorative" xmlns="" val="1"/>
              </a:ext>
            </a:extLst>
          </p:cNvPr>
          <p:cNvPicPr>
            <a:picLocks noChangeAspect="1"/>
          </p:cNvPicPr>
          <p:nvPr/>
        </p:nvPicPr>
        <p:blipFill>
          <a:blip r:embed="rId35" cstate="email">
            <a:extLst>
              <a:ext uri="{28A0092B-C50C-407E-A947-70E740481C1C}">
                <a14:useLocalDpi xmlns:a14="http://schemas.microsoft.com/office/drawing/2010/main"/>
              </a:ext>
            </a:extLst>
          </a:blip>
          <a:srcRect/>
          <a:stretch/>
        </p:blipFill>
        <p:spPr>
          <a:xfrm>
            <a:off x="159150" y="6523619"/>
            <a:ext cx="3073580" cy="286906"/>
          </a:xfrm>
          <a:prstGeom prst="rect">
            <a:avLst/>
          </a:prstGeom>
        </p:spPr>
      </p:pic>
      <p:sp>
        <p:nvSpPr>
          <p:cNvPr id="5" name="Footer Placeholder 4"/>
          <p:cNvSpPr>
            <a:spLocks noGrp="1"/>
          </p:cNvSpPr>
          <p:nvPr>
            <p:ph type="ftr" sz="quarter" idx="3"/>
          </p:nvPr>
        </p:nvSpPr>
        <p:spPr>
          <a:xfrm>
            <a:off x="3391880" y="6572414"/>
            <a:ext cx="6887200" cy="182880"/>
          </a:xfrm>
          <a:prstGeom prst="rect">
            <a:avLst/>
          </a:prstGeom>
        </p:spPr>
        <p:txBody>
          <a:bodyPr vert="horz" lIns="91440" tIns="45720" rIns="91440" bIns="45720" rtlCol="0" anchor="ctr"/>
          <a:lstStyle>
            <a:lvl1pPr algn="ctr">
              <a:defRPr sz="1200">
                <a:solidFill>
                  <a:schemeClr val="bg1"/>
                </a:solidFill>
              </a:defRPr>
            </a:lvl1pPr>
          </a:lstStyle>
          <a:p>
            <a:r>
              <a:rPr lang="en-US" dirty="0"/>
              <a:t>2024 Draft Business Plan Update</a:t>
            </a:r>
          </a:p>
        </p:txBody>
      </p:sp>
      <p:sp>
        <p:nvSpPr>
          <p:cNvPr id="4" name="Date Placeholder 3"/>
          <p:cNvSpPr>
            <a:spLocks noGrp="1"/>
          </p:cNvSpPr>
          <p:nvPr>
            <p:ph type="dt" sz="half" idx="2"/>
          </p:nvPr>
        </p:nvSpPr>
        <p:spPr>
          <a:xfrm>
            <a:off x="10389936" y="6572414"/>
            <a:ext cx="1192439" cy="182880"/>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11665499" y="6572414"/>
            <a:ext cx="498790" cy="182880"/>
          </a:xfrm>
          <a:prstGeom prst="rect">
            <a:avLst/>
          </a:prstGeom>
        </p:spPr>
        <p:txBody>
          <a:bodyPr vert="horz" lIns="91440" tIns="45720" rIns="91440" bIns="45720" rtlCol="0" anchor="ctr"/>
          <a:lstStyle>
            <a:lvl1pPr algn="ctr">
              <a:defRPr sz="1100">
                <a:solidFill>
                  <a:schemeClr val="bg1"/>
                </a:solidFill>
              </a:defRPr>
            </a:lvl1pPr>
          </a:lstStyle>
          <a:p>
            <a:fld id="{9F845ACB-6A9C-4D80-856D-F33308202576}" type="slidenum">
              <a:rPr lang="en-US" smtClean="0"/>
              <a:pPr/>
              <a:t>‹#›</a:t>
            </a:fld>
            <a:endParaRPr lang="en-US" dirty="0"/>
          </a:p>
        </p:txBody>
      </p:sp>
    </p:spTree>
    <p:extLst>
      <p:ext uri="{BB962C8B-B14F-4D97-AF65-F5344CB8AC3E}">
        <p14:creationId xmlns:p14="http://schemas.microsoft.com/office/powerpoint/2010/main" val="204869572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Calibri" panose="020F0502020204030204" pitchFamily="34" charset="0"/>
        <a:buChar char="»"/>
        <a:defRPr sz="2400" kern="1200">
          <a:solidFill>
            <a:schemeClr val="accent5">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80">
          <p15:clr>
            <a:srgbClr val="F26B43"/>
          </p15:clr>
        </p15:guide>
        <p15:guide id="2" pos="216">
          <p15:clr>
            <a:srgbClr val="F26B43"/>
          </p15:clr>
        </p15:guide>
        <p15:guide id="3" pos="7440">
          <p15:clr>
            <a:srgbClr val="F26B43"/>
          </p15:clr>
        </p15:guide>
        <p15:guide id="4" orient="horz" pos="600">
          <p15:clr>
            <a:srgbClr val="F26B43"/>
          </p15:clr>
        </p15:guide>
        <p15:guide id="5" orient="horz" pos="72">
          <p15:clr>
            <a:srgbClr val="F26B43"/>
          </p15:clr>
        </p15:guide>
        <p15:guide id="6" orient="horz" pos="6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 name="Parallelogram 19">
            <a:extLst>
              <a:ext uri="{FF2B5EF4-FFF2-40B4-BE49-F238E27FC236}">
                <a16:creationId xmlns:a16="http://schemas.microsoft.com/office/drawing/2014/main" id="{513B2DC0-6AC0-4316-8242-F13E9583D9FE}"/>
              </a:ext>
            </a:extLst>
          </p:cNvPr>
          <p:cNvSpPr/>
          <p:nvPr userDrawn="1"/>
        </p:nvSpPr>
        <p:spPr>
          <a:xfrm>
            <a:off x="8916063" y="5565913"/>
            <a:ext cx="3996856" cy="1144245"/>
          </a:xfrm>
          <a:prstGeom prst="parallelogram">
            <a:avLst>
              <a:gd name="adj" fmla="val 465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sz="1800" dirty="0">
              <a:solidFill>
                <a:prstClr val="white"/>
              </a:solidFill>
            </a:endParaRPr>
          </a:p>
        </p:txBody>
      </p:sp>
      <p:sp>
        <p:nvSpPr>
          <p:cNvPr id="2" name="Title Placeholder 1"/>
          <p:cNvSpPr>
            <a:spLocks noGrp="1"/>
          </p:cNvSpPr>
          <p:nvPr>
            <p:ph type="title"/>
          </p:nvPr>
        </p:nvSpPr>
        <p:spPr>
          <a:xfrm>
            <a:off x="116618" y="110684"/>
            <a:ext cx="11905753" cy="1234956"/>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116618" y="1407381"/>
            <a:ext cx="11905753" cy="476958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06F35831-400C-4943-970F-DC23FEABA243}"/>
              </a:ext>
            </a:extLst>
          </p:cNvPr>
          <p:cNvSpPr/>
          <p:nvPr userDrawn="1"/>
        </p:nvSpPr>
        <p:spPr>
          <a:xfrm>
            <a:off x="0" y="6710159"/>
            <a:ext cx="12192000" cy="1478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sz="1800" dirty="0">
              <a:solidFill>
                <a:prstClr val="white"/>
              </a:solidFill>
            </a:endParaRPr>
          </a:p>
        </p:txBody>
      </p:sp>
      <p:pic>
        <p:nvPicPr>
          <p:cNvPr id="22" name="Picture 21">
            <a:extLst>
              <a:ext uri="{FF2B5EF4-FFF2-40B4-BE49-F238E27FC236}">
                <a16:creationId xmlns:a16="http://schemas.microsoft.com/office/drawing/2014/main" id="{56F752D4-B7CF-4ADB-877F-2D2EC6C5C8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742998" y="5713380"/>
            <a:ext cx="2279373" cy="525324"/>
          </a:xfrm>
          <a:prstGeom prst="rect">
            <a:avLst/>
          </a:prstGeom>
        </p:spPr>
      </p:pic>
      <p:pic>
        <p:nvPicPr>
          <p:cNvPr id="24" name="Picture 23">
            <a:extLst>
              <a:ext uri="{FF2B5EF4-FFF2-40B4-BE49-F238E27FC236}">
                <a16:creationId xmlns:a16="http://schemas.microsoft.com/office/drawing/2014/main" id="{F6556795-A677-4F39-95C0-ADB73AD4522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212911" y="6300445"/>
            <a:ext cx="2809460" cy="409713"/>
          </a:xfrm>
          <a:prstGeom prst="rect">
            <a:avLst/>
          </a:prstGeom>
        </p:spPr>
      </p:pic>
    </p:spTree>
    <p:extLst>
      <p:ext uri="{BB962C8B-B14F-4D97-AF65-F5344CB8AC3E}">
        <p14:creationId xmlns:p14="http://schemas.microsoft.com/office/powerpoint/2010/main" val="332680521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l" defTabSz="914400" rtl="0" eaLnBrk="1" latinLnBrk="0" hangingPunct="1">
        <a:lnSpc>
          <a:spcPct val="90000"/>
        </a:lnSpc>
        <a:spcBef>
          <a:spcPct val="0"/>
        </a:spcBef>
        <a:buNone/>
        <a:defRPr sz="44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3F122D-6177-4F73-BDAA-143D6636FF21}"/>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B58A7C-42EE-4FB3-93D8-DF46AA3971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45A5AD-5307-413B-910C-AD01E94E4AC4}"/>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687486F-3411-45B7-877C-2F44715EE1D6}" type="datetimeFigureOut">
              <a:rPr lang="en-US" smtClean="0"/>
              <a:t>3/8/2024</a:t>
            </a:fld>
            <a:endParaRPr lang="en-US" dirty="0"/>
          </a:p>
        </p:txBody>
      </p:sp>
      <p:sp>
        <p:nvSpPr>
          <p:cNvPr id="5" name="Footer Placeholder 4">
            <a:extLst>
              <a:ext uri="{FF2B5EF4-FFF2-40B4-BE49-F238E27FC236}">
                <a16:creationId xmlns:a16="http://schemas.microsoft.com/office/drawing/2014/main" id="{C045D732-D621-4023-B151-9CA523DA2459}"/>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0CE653C-813B-4872-A1E5-88CC328DA7C1}"/>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82F8571-53DF-4AE7-A73C-75D8329879AC}" type="slidenum">
              <a:rPr lang="en-US" smtClean="0"/>
              <a:t>‹#›</a:t>
            </a:fld>
            <a:endParaRPr lang="en-US" dirty="0"/>
          </a:p>
        </p:txBody>
      </p:sp>
      <p:grpSp>
        <p:nvGrpSpPr>
          <p:cNvPr id="15" name="Group 14">
            <a:extLst>
              <a:ext uri="{FF2B5EF4-FFF2-40B4-BE49-F238E27FC236}">
                <a16:creationId xmlns:a16="http://schemas.microsoft.com/office/drawing/2014/main" id="{33B3D71C-6EEE-456D-A9E6-34DFA2D74E13}"/>
              </a:ext>
            </a:extLst>
          </p:cNvPr>
          <p:cNvGrpSpPr/>
          <p:nvPr userDrawn="1"/>
        </p:nvGrpSpPr>
        <p:grpSpPr>
          <a:xfrm>
            <a:off x="-1" y="6124158"/>
            <a:ext cx="12577233" cy="733843"/>
            <a:chOff x="-4967955" y="5827871"/>
            <a:chExt cx="17655254" cy="1030131"/>
          </a:xfrm>
        </p:grpSpPr>
        <p:sp>
          <p:nvSpPr>
            <p:cNvPr id="16" name="Parallelogram 15">
              <a:extLst>
                <a:ext uri="{FF2B5EF4-FFF2-40B4-BE49-F238E27FC236}">
                  <a16:creationId xmlns:a16="http://schemas.microsoft.com/office/drawing/2014/main" id="{DF498553-EF2D-4458-BCD7-74B764051482}"/>
                </a:ext>
              </a:extLst>
            </p:cNvPr>
            <p:cNvSpPr/>
            <p:nvPr/>
          </p:nvSpPr>
          <p:spPr>
            <a:xfrm>
              <a:off x="9772650" y="5827871"/>
              <a:ext cx="2914649" cy="921214"/>
            </a:xfrm>
            <a:prstGeom prst="parallelogram">
              <a:avLst>
                <a:gd name="adj" fmla="val 46542"/>
              </a:avLst>
            </a:prstGeom>
            <a:solidFill>
              <a:srgbClr val="1F497D"/>
            </a:solidFill>
            <a:ln w="25400"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4BE540EB-ECD7-4547-8A26-84FC1366B6B6}"/>
                </a:ext>
              </a:extLst>
            </p:cNvPr>
            <p:cNvSpPr/>
            <p:nvPr/>
          </p:nvSpPr>
          <p:spPr>
            <a:xfrm>
              <a:off x="-4967955" y="6713837"/>
              <a:ext cx="17207579" cy="144165"/>
            </a:xfrm>
            <a:prstGeom prst="rect">
              <a:avLst/>
            </a:prstGeom>
            <a:solidFill>
              <a:srgbClr val="1F497D"/>
            </a:solidFill>
            <a:ln w="25400" cap="flat" cmpd="sng" algn="ctr">
              <a:noFill/>
              <a:prstDash val="solid"/>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6F8F6AEA-F495-489C-9C7E-5E73C83F3EE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25765" y="5947613"/>
              <a:ext cx="1324293" cy="406944"/>
            </a:xfrm>
            <a:prstGeom prst="rect">
              <a:avLst/>
            </a:prstGeom>
          </p:spPr>
        </p:pic>
        <p:pic>
          <p:nvPicPr>
            <p:cNvPr id="19" name="Picture 18">
              <a:extLst>
                <a:ext uri="{FF2B5EF4-FFF2-40B4-BE49-F238E27FC236}">
                  <a16:creationId xmlns:a16="http://schemas.microsoft.com/office/drawing/2014/main" id="{9746910F-EB32-4E2F-B712-C9721C97E47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17791" y="6396450"/>
              <a:ext cx="1632268" cy="317385"/>
            </a:xfrm>
            <a:prstGeom prst="rect">
              <a:avLst/>
            </a:prstGeom>
          </p:spPr>
        </p:pic>
      </p:grpSp>
    </p:spTree>
    <p:extLst>
      <p:ext uri="{BB962C8B-B14F-4D97-AF65-F5344CB8AC3E}">
        <p14:creationId xmlns:p14="http://schemas.microsoft.com/office/powerpoint/2010/main" val="224370281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47.jp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59.svg"/><Relationship Id="rId5" Type="http://schemas.openxmlformats.org/officeDocument/2006/relationships/image" Target="../media/image49.png"/><Relationship Id="rId4" Type="http://schemas.openxmlformats.org/officeDocument/2006/relationships/image" Target="../media/image57.sv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notesSlide" Target="../notesSlides/notesSlide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slideLayout" Target="../slideLayouts/slideLayout23.xml"/><Relationship Id="rId5" Type="http://schemas.openxmlformats.org/officeDocument/2006/relationships/tags" Target="../tags/tag6.xml"/><Relationship Id="rId10" Type="http://schemas.openxmlformats.org/officeDocument/2006/relationships/image" Target="../media/image24.png"/><Relationship Id="rId4" Type="http://schemas.openxmlformats.org/officeDocument/2006/relationships/tags" Target="../tags/tag5.xml"/><Relationship Id="rId9"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25.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hyperlink" Target="https://www.epa.gov/energy/greenhouse-gas-equivalencies-calculator#results" TargetMode="External"/><Relationship Id="rId2" Type="http://schemas.openxmlformats.org/officeDocument/2006/relationships/tags" Target="../tags/tag7.xml"/><Relationship Id="rId16" Type="http://schemas.openxmlformats.org/officeDocument/2006/relationships/image" Target="../media/image29.svg"/><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image" Target="../media/image2.emf"/><Relationship Id="rId5" Type="http://schemas.openxmlformats.org/officeDocument/2006/relationships/tags" Target="../tags/tag10.xml"/><Relationship Id="rId15" Type="http://schemas.openxmlformats.org/officeDocument/2006/relationships/image" Target="../media/image26.png"/><Relationship Id="rId10" Type="http://schemas.openxmlformats.org/officeDocument/2006/relationships/oleObject" Target="../embeddings/oleObject4.bin"/><Relationship Id="rId4" Type="http://schemas.openxmlformats.org/officeDocument/2006/relationships/tags" Target="../tags/tag9.xml"/><Relationship Id="rId9" Type="http://schemas.openxmlformats.org/officeDocument/2006/relationships/slideLayout" Target="../slideLayouts/slideLayout23.xml"/><Relationship Id="rId14" Type="http://schemas.openxmlformats.org/officeDocument/2006/relationships/image" Target="../media/image27.sv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5.xml"/><Relationship Id="rId7" Type="http://schemas.openxmlformats.org/officeDocument/2006/relationships/notesSlide" Target="../notesSlides/notesSlide4.xml"/><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slideLayout" Target="../slideLayouts/slideLayout23.xml"/><Relationship Id="rId11" Type="http://schemas.openxmlformats.org/officeDocument/2006/relationships/image" Target="../media/image31.svg"/><Relationship Id="rId5" Type="http://schemas.openxmlformats.org/officeDocument/2006/relationships/tags" Target="../tags/tag17.xml"/><Relationship Id="rId10" Type="http://schemas.openxmlformats.org/officeDocument/2006/relationships/image" Target="../media/image27.png"/><Relationship Id="rId4" Type="http://schemas.openxmlformats.org/officeDocument/2006/relationships/tags" Target="../tags/tag16.xml"/><Relationship Id="rId9" Type="http://schemas.openxmlformats.org/officeDocument/2006/relationships/image" Target="../media/image2.emf"/></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33.svg"/><Relationship Id="rId18" Type="http://schemas.openxmlformats.org/officeDocument/2006/relationships/image" Target="../media/image38.svg"/><Relationship Id="rId3" Type="http://schemas.openxmlformats.org/officeDocument/2006/relationships/tags" Target="../tags/tag19.xml"/><Relationship Id="rId21" Type="http://schemas.openxmlformats.org/officeDocument/2006/relationships/image" Target="../media/image34.png"/><Relationship Id="rId7" Type="http://schemas.openxmlformats.org/officeDocument/2006/relationships/tags" Target="../tags/tag23.xml"/><Relationship Id="rId12" Type="http://schemas.openxmlformats.org/officeDocument/2006/relationships/image" Target="../media/image28.png"/><Relationship Id="rId17" Type="http://schemas.openxmlformats.org/officeDocument/2006/relationships/image" Target="../media/image32.png"/><Relationship Id="rId2" Type="http://schemas.openxmlformats.org/officeDocument/2006/relationships/tags" Target="../tags/tag18.xml"/><Relationship Id="rId16" Type="http://schemas.openxmlformats.org/officeDocument/2006/relationships/image" Target="../media/image31.jpeg"/><Relationship Id="rId20" Type="http://schemas.openxmlformats.org/officeDocument/2006/relationships/image" Target="../media/image40.svg"/><Relationship Id="rId1" Type="http://schemas.openxmlformats.org/officeDocument/2006/relationships/vmlDrawing" Target="../drawings/vmlDrawing6.vml"/><Relationship Id="rId6" Type="http://schemas.openxmlformats.org/officeDocument/2006/relationships/tags" Target="../tags/tag22.xml"/><Relationship Id="rId11" Type="http://schemas.openxmlformats.org/officeDocument/2006/relationships/image" Target="../media/image2.emf"/><Relationship Id="rId5" Type="http://schemas.openxmlformats.org/officeDocument/2006/relationships/tags" Target="../tags/tag21.xml"/><Relationship Id="rId15" Type="http://schemas.openxmlformats.org/officeDocument/2006/relationships/image" Target="../media/image30.png"/><Relationship Id="rId10" Type="http://schemas.openxmlformats.org/officeDocument/2006/relationships/oleObject" Target="../embeddings/oleObject6.bin"/><Relationship Id="rId19" Type="http://schemas.openxmlformats.org/officeDocument/2006/relationships/image" Target="../media/image33.png"/><Relationship Id="rId4" Type="http://schemas.openxmlformats.org/officeDocument/2006/relationships/tags" Target="../tags/tag20.xml"/><Relationship Id="rId9" Type="http://schemas.openxmlformats.org/officeDocument/2006/relationships/slideLayout" Target="../slideLayouts/slideLayout23.xml"/><Relationship Id="rId14" Type="http://schemas.openxmlformats.org/officeDocument/2006/relationships/image" Target="../media/image29.jpeg"/><Relationship Id="rId22" Type="http://schemas.openxmlformats.org/officeDocument/2006/relationships/image" Target="../media/image42.sv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9.png"/><Relationship Id="rId3" Type="http://schemas.openxmlformats.org/officeDocument/2006/relationships/tags" Target="../tags/tag26.xml"/><Relationship Id="rId7" Type="http://schemas.openxmlformats.org/officeDocument/2006/relationships/image" Target="../media/image35.emf"/><Relationship Id="rId12" Type="http://schemas.openxmlformats.org/officeDocument/2006/relationships/image" Target="../media/image38.jpeg"/><Relationship Id="rId17" Type="http://schemas.openxmlformats.org/officeDocument/2006/relationships/image" Target="../media/image43.png"/><Relationship Id="rId2" Type="http://schemas.openxmlformats.org/officeDocument/2006/relationships/tags" Target="../tags/tag25.xml"/><Relationship Id="rId16" Type="http://schemas.openxmlformats.org/officeDocument/2006/relationships/image" Target="../media/image42.pn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7.jpeg"/><Relationship Id="rId5" Type="http://schemas.openxmlformats.org/officeDocument/2006/relationships/notesSlide" Target="../notesSlides/notesSlide5.xml"/><Relationship Id="rId15" Type="http://schemas.openxmlformats.org/officeDocument/2006/relationships/image" Target="../media/image41.jpeg"/><Relationship Id="rId10" Type="http://schemas.openxmlformats.org/officeDocument/2006/relationships/image" Target="../media/image36.jpeg"/><Relationship Id="rId4" Type="http://schemas.openxmlformats.org/officeDocument/2006/relationships/slideLayout" Target="../slideLayouts/slideLayout23.xml"/><Relationship Id="rId9" Type="http://schemas.openxmlformats.org/officeDocument/2006/relationships/image" Target="../media/image33.svg"/><Relationship Id="rId1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person, people&#10;&#10;Description automatically generated">
            <a:extLst>
              <a:ext uri="{FF2B5EF4-FFF2-40B4-BE49-F238E27FC236}">
                <a16:creationId xmlns:a16="http://schemas.microsoft.com/office/drawing/2014/main" id="{19F78919-9031-49F7-A2C6-85DD1F6772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61549" y="358347"/>
            <a:ext cx="9686983" cy="4806778"/>
          </a:xfrm>
          <a:prstGeom prst="rect">
            <a:avLst/>
          </a:prstGeom>
        </p:spPr>
      </p:pic>
      <p:sp>
        <p:nvSpPr>
          <p:cNvPr id="3" name="TextBox 2">
            <a:extLst>
              <a:ext uri="{FF2B5EF4-FFF2-40B4-BE49-F238E27FC236}">
                <a16:creationId xmlns:a16="http://schemas.microsoft.com/office/drawing/2014/main" id="{8C39144C-0605-BAB3-C450-3572C5A4AA6D}"/>
              </a:ext>
            </a:extLst>
          </p:cNvPr>
          <p:cNvSpPr txBox="1"/>
          <p:nvPr/>
        </p:nvSpPr>
        <p:spPr>
          <a:xfrm>
            <a:off x="2209800" y="3943350"/>
            <a:ext cx="6688540" cy="1077218"/>
          </a:xfrm>
          <a:prstGeom prst="rect">
            <a:avLst/>
          </a:prstGeom>
          <a:noFill/>
        </p:spPr>
        <p:txBody>
          <a:bodyPr wrap="square">
            <a:spAutoFit/>
          </a:bodyPr>
          <a:lstStyle/>
          <a:p>
            <a:r>
              <a:rPr lang="en-US" sz="3200" b="1" dirty="0">
                <a:solidFill>
                  <a:schemeClr val="bg1"/>
                </a:solidFill>
                <a:latin typeface="Century Gothic" panose="020B0502020202020204" pitchFamily="34" charset="0"/>
              </a:rPr>
              <a:t>Chad Edison  </a:t>
            </a:r>
          </a:p>
          <a:p>
            <a:r>
              <a:rPr lang="en-US" sz="3200" b="1" dirty="0">
                <a:solidFill>
                  <a:schemeClr val="bg1"/>
                </a:solidFill>
                <a:latin typeface="Century Gothic" panose="020B0502020202020204" pitchFamily="34" charset="0"/>
              </a:rPr>
              <a:t>CA State Transportation Agency</a:t>
            </a:r>
          </a:p>
        </p:txBody>
      </p:sp>
    </p:spTree>
    <p:extLst>
      <p:ext uri="{BB962C8B-B14F-4D97-AF65-F5344CB8AC3E}">
        <p14:creationId xmlns:p14="http://schemas.microsoft.com/office/powerpoint/2010/main" val="2404622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DE71A06-A26F-424C-B7A2-3807207CBC52}"/>
              </a:ext>
            </a:extLst>
          </p:cNvPr>
          <p:cNvSpPr/>
          <p:nvPr/>
        </p:nvSpPr>
        <p:spPr>
          <a:xfrm>
            <a:off x="7162800" y="609600"/>
            <a:ext cx="3505200" cy="4985980"/>
          </a:xfrm>
          <a:prstGeom prst="rect">
            <a:avLst/>
          </a:prstGeom>
        </p:spPr>
        <p:txBody>
          <a:bodyPr wrap="square" lIns="91440" tIns="45720" rIns="91440" bIns="45720" anchor="t">
            <a:spAutoFit/>
          </a:bodyPr>
          <a:lstStyle/>
          <a:p>
            <a:pPr marL="285750" indent="-285750" fontAlgn="base">
              <a:spcBef>
                <a:spcPts val="600"/>
              </a:spcBef>
              <a:spcAft>
                <a:spcPts val="1200"/>
              </a:spcAft>
              <a:buFont typeface="Arial" panose="020B0604020202020204" pitchFamily="34" charset="0"/>
              <a:buChar char="•"/>
              <a:defRPr/>
            </a:pPr>
            <a:r>
              <a:rPr lang="en-US" altLang="en-US" sz="2400" dirty="0">
                <a:solidFill>
                  <a:prstClr val="black"/>
                </a:solidFill>
                <a:latin typeface="Arial"/>
                <a:cs typeface="Arial"/>
              </a:rPr>
              <a:t>Valley Rail Program includes expansion of both ACE and the San Joaquins Services</a:t>
            </a:r>
          </a:p>
          <a:p>
            <a:pPr marL="285750" indent="-285750" fontAlgn="base">
              <a:spcBef>
                <a:spcPts val="600"/>
              </a:spcBef>
              <a:spcAft>
                <a:spcPts val="1200"/>
              </a:spcAft>
              <a:buFont typeface="Arial" panose="020B0604020202020204" pitchFamily="34" charset="0"/>
              <a:buChar char="•"/>
              <a:defRPr/>
            </a:pPr>
            <a:r>
              <a:rPr lang="en-US" sz="2400" dirty="0">
                <a:solidFill>
                  <a:prstClr val="black"/>
                </a:solidFill>
                <a:latin typeface="Arial"/>
                <a:cs typeface="Arial"/>
              </a:rPr>
              <a:t>Valley Rail has received about $1.6 billion in state and other funding sources</a:t>
            </a:r>
          </a:p>
          <a:p>
            <a:pPr marL="285750" indent="-285750" fontAlgn="base">
              <a:spcBef>
                <a:spcPts val="600"/>
              </a:spcBef>
              <a:spcAft>
                <a:spcPts val="1200"/>
              </a:spcAft>
              <a:buFont typeface="Arial" panose="020B0604020202020204" pitchFamily="34" charset="0"/>
              <a:buChar char="•"/>
              <a:defRPr/>
            </a:pPr>
            <a:r>
              <a:rPr lang="en-US" altLang="en-US" sz="2400" dirty="0">
                <a:solidFill>
                  <a:prstClr val="black"/>
                </a:solidFill>
                <a:latin typeface="Arial"/>
                <a:cs typeface="Arial"/>
              </a:rPr>
              <a:t>First round-trip to/from Ceres and Natomas by 2026</a:t>
            </a:r>
          </a:p>
          <a:p>
            <a:pPr fontAlgn="base">
              <a:spcBef>
                <a:spcPct val="0"/>
              </a:spcBef>
              <a:spcAft>
                <a:spcPct val="0"/>
              </a:spcAft>
              <a:defRPr/>
            </a:pPr>
            <a:endParaRPr lang="en-US" altLang="en-US" sz="1400" dirty="0">
              <a:solidFill>
                <a:prstClr val="black"/>
              </a:solidFill>
              <a:latin typeface="Arial" charset="0"/>
            </a:endParaRPr>
          </a:p>
        </p:txBody>
      </p:sp>
      <p:pic>
        <p:nvPicPr>
          <p:cNvPr id="2" name="Picture 1">
            <a:extLst>
              <a:ext uri="{FF2B5EF4-FFF2-40B4-BE49-F238E27FC236}">
                <a16:creationId xmlns:a16="http://schemas.microsoft.com/office/drawing/2014/main" id="{5AF88B2B-6669-66EC-10A3-B1EAEADAB2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2600" y="447907"/>
            <a:ext cx="5541624" cy="5962187"/>
          </a:xfrm>
          <a:prstGeom prst="rect">
            <a:avLst/>
          </a:prstGeom>
        </p:spPr>
      </p:pic>
    </p:spTree>
    <p:extLst>
      <p:ext uri="{BB962C8B-B14F-4D97-AF65-F5344CB8AC3E}">
        <p14:creationId xmlns:p14="http://schemas.microsoft.com/office/powerpoint/2010/main" val="3674562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map of a train route&#10;&#10;Description automatically generated">
            <a:extLst>
              <a:ext uri="{FF2B5EF4-FFF2-40B4-BE49-F238E27FC236}">
                <a16:creationId xmlns:a16="http://schemas.microsoft.com/office/drawing/2014/main" id="{2A3828D6-900B-959E-63AC-DCA528901B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0" y="0"/>
            <a:ext cx="5492770" cy="6680176"/>
          </a:xfrm>
          <a:prstGeom prst="rect">
            <a:avLst/>
          </a:prstGeom>
        </p:spPr>
      </p:pic>
      <p:pic>
        <p:nvPicPr>
          <p:cNvPr id="10" name="Picture 9" descr="A list of different types of transportation companies&#10;&#10;Description automatically generated with medium confidence">
            <a:extLst>
              <a:ext uri="{FF2B5EF4-FFF2-40B4-BE49-F238E27FC236}">
                <a16:creationId xmlns:a16="http://schemas.microsoft.com/office/drawing/2014/main" id="{FCAA3AF1-04A5-6FB7-7D19-6C93B0EF55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24600" y="1"/>
            <a:ext cx="3810000" cy="4219433"/>
          </a:xfrm>
          <a:prstGeom prst="rect">
            <a:avLst/>
          </a:prstGeom>
        </p:spPr>
      </p:pic>
    </p:spTree>
    <p:extLst>
      <p:ext uri="{BB962C8B-B14F-4D97-AF65-F5344CB8AC3E}">
        <p14:creationId xmlns:p14="http://schemas.microsoft.com/office/powerpoint/2010/main" val="361733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383C318-4297-4651-9629-2FDE07DEF49F}"/>
              </a:ext>
            </a:extLst>
          </p:cNvPr>
          <p:cNvCxnSpPr/>
          <p:nvPr/>
        </p:nvCxnSpPr>
        <p:spPr>
          <a:xfrm>
            <a:off x="1524000" y="857250"/>
            <a:ext cx="6858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64FDC52-96D0-427F-A1F9-10564E634D02}"/>
              </a:ext>
            </a:extLst>
          </p:cNvPr>
          <p:cNvSpPr>
            <a:spLocks noGrp="1"/>
          </p:cNvSpPr>
          <p:nvPr>
            <p:ph type="title"/>
          </p:nvPr>
        </p:nvSpPr>
        <p:spPr>
          <a:xfrm>
            <a:off x="1524000" y="0"/>
            <a:ext cx="2819400" cy="757130"/>
          </a:xfrm>
        </p:spPr>
        <p:txBody>
          <a:bodyPr wrap="square">
            <a:spAutoFit/>
          </a:bodyPr>
          <a:lstStyle/>
          <a:p>
            <a:r>
              <a:rPr lang="en-US" dirty="0"/>
              <a:t>Integrated ACE and San Joaquins</a:t>
            </a:r>
          </a:p>
        </p:txBody>
      </p:sp>
      <p:sp>
        <p:nvSpPr>
          <p:cNvPr id="4" name="Slide Number Placeholder 4">
            <a:extLst>
              <a:ext uri="{FF2B5EF4-FFF2-40B4-BE49-F238E27FC236}">
                <a16:creationId xmlns:a16="http://schemas.microsoft.com/office/drawing/2014/main" id="{8106C16D-2891-4D6B-B06F-194050569EDD}"/>
              </a:ext>
            </a:extLst>
          </p:cNvPr>
          <p:cNvSpPr>
            <a:spLocks noGrp="1"/>
          </p:cNvSpPr>
          <p:nvPr>
            <p:ph type="sldNum" sz="quarter" idx="12"/>
          </p:nvPr>
        </p:nvSpPr>
        <p:spPr/>
        <p:txBody>
          <a:bodyPr/>
          <a:lstStyle>
            <a:lvl1pPr algn="l">
              <a:defRPr sz="750"/>
            </a:lvl1pPr>
          </a:lstStyle>
          <a:p>
            <a:pPr defTabSz="685800">
              <a:defRPr/>
            </a:pPr>
            <a:fld id="{A82F8571-53DF-4AE7-A73C-75D8329879AC}" type="slidenum">
              <a:rPr lang="en-US">
                <a:solidFill>
                  <a:prstClr val="black">
                    <a:tint val="75000"/>
                  </a:prstClr>
                </a:solidFill>
                <a:latin typeface="Arial" panose="020B0604020202020204"/>
                <a:cs typeface="Arial" panose="020B0604020202020204" pitchFamily="34" charset="0"/>
              </a:rPr>
              <a:pPr defTabSz="685800">
                <a:defRPr/>
              </a:pPr>
              <a:t>12</a:t>
            </a:fld>
            <a:endParaRPr lang="en-US" dirty="0">
              <a:solidFill>
                <a:prstClr val="black">
                  <a:tint val="75000"/>
                </a:prstClr>
              </a:solidFill>
              <a:latin typeface="Arial" panose="020B0604020202020204"/>
              <a:cs typeface="Arial" panose="020B0604020202020204" pitchFamily="34" charset="0"/>
            </a:endParaRPr>
          </a:p>
        </p:txBody>
      </p:sp>
      <p:pic>
        <p:nvPicPr>
          <p:cNvPr id="9" name="Graphic 8">
            <a:extLst>
              <a:ext uri="{FF2B5EF4-FFF2-40B4-BE49-F238E27FC236}">
                <a16:creationId xmlns:a16="http://schemas.microsoft.com/office/drawing/2014/main" id="{7B9EF024-CBE1-13B1-4DEC-653AA36BD59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771790" y="0"/>
            <a:ext cx="6648420" cy="6772690"/>
          </a:xfrm>
          <a:prstGeom prst="rect">
            <a:avLst/>
          </a:prstGeom>
        </p:spPr>
      </p:pic>
      <p:pic>
        <p:nvPicPr>
          <p:cNvPr id="13" name="Graphic 12">
            <a:extLst>
              <a:ext uri="{FF2B5EF4-FFF2-40B4-BE49-F238E27FC236}">
                <a16:creationId xmlns:a16="http://schemas.microsoft.com/office/drawing/2014/main" id="{A9039D98-DFB0-80D4-4729-71B3F6AA8C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7391400" y="85310"/>
            <a:ext cx="3200400" cy="2880360"/>
          </a:xfrm>
          <a:prstGeom prst="rect">
            <a:avLst/>
          </a:prstGeom>
        </p:spPr>
      </p:pic>
    </p:spTree>
    <p:extLst>
      <p:ext uri="{BB962C8B-B14F-4D97-AF65-F5344CB8AC3E}">
        <p14:creationId xmlns:p14="http://schemas.microsoft.com/office/powerpoint/2010/main" val="3945197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BD5D-B84A-C5A3-AD94-716B18DDC647}"/>
              </a:ext>
            </a:extLst>
          </p:cNvPr>
          <p:cNvPicPr>
            <a:picLocks noChangeAspect="1"/>
          </p:cNvPicPr>
          <p:nvPr/>
        </p:nvPicPr>
        <p:blipFill rotWithShape="1">
          <a:blip r:embed="rId3"/>
          <a:srcRect l="9218" t="14027" r="14925" b="3404"/>
          <a:stretch/>
        </p:blipFill>
        <p:spPr>
          <a:xfrm>
            <a:off x="1673844" y="217884"/>
            <a:ext cx="9765681" cy="6422231"/>
          </a:xfrm>
          <a:prstGeom prst="rect">
            <a:avLst/>
          </a:prstGeom>
        </p:spPr>
      </p:pic>
    </p:spTree>
    <p:extLst>
      <p:ext uri="{BB962C8B-B14F-4D97-AF65-F5344CB8AC3E}">
        <p14:creationId xmlns:p14="http://schemas.microsoft.com/office/powerpoint/2010/main" val="3753099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FEAA482-3593-E8DE-86E3-49D04B3653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84" imgH="486" progId="TCLayout.ActiveDocument.1">
                  <p:embed/>
                </p:oleObj>
              </mc:Choice>
              <mc:Fallback>
                <p:oleObj name="think-cell Slide" r:id="rId4" imgW="484" imgH="486" progId="TCLayout.ActiveDocument.1">
                  <p:embed/>
                  <p:pic>
                    <p:nvPicPr>
                      <p:cNvPr id="8" name="think-cell data - do not delete" hidden="1">
                        <a:extLst>
                          <a:ext uri="{FF2B5EF4-FFF2-40B4-BE49-F238E27FC236}">
                            <a16:creationId xmlns:a16="http://schemas.microsoft.com/office/drawing/2014/main" id="{9FEAA482-3593-E8DE-86E3-49D04B365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1891E4-F4FC-E6A4-7A51-04346E594AA8}"/>
              </a:ext>
            </a:extLst>
          </p:cNvPr>
          <p:cNvSpPr>
            <a:spLocks noGrp="1"/>
          </p:cNvSpPr>
          <p:nvPr>
            <p:ph type="ctrTitle"/>
          </p:nvPr>
        </p:nvSpPr>
        <p:spPr/>
        <p:txBody>
          <a:bodyPr vert="horz">
            <a:normAutofit fontScale="90000"/>
          </a:bodyPr>
          <a:lstStyle/>
          <a:p>
            <a:r>
              <a:rPr lang="en-US" dirty="0"/>
              <a:t>Operations along the Merced to Bakersfield Segment</a:t>
            </a:r>
          </a:p>
        </p:txBody>
      </p:sp>
      <p:sp>
        <p:nvSpPr>
          <p:cNvPr id="3" name="Subtitle 2">
            <a:extLst>
              <a:ext uri="{FF2B5EF4-FFF2-40B4-BE49-F238E27FC236}">
                <a16:creationId xmlns:a16="http://schemas.microsoft.com/office/drawing/2014/main" id="{1B60487F-B55C-620C-44A7-FFBCE3A93208}"/>
              </a:ext>
            </a:extLst>
          </p:cNvPr>
          <p:cNvSpPr>
            <a:spLocks noGrp="1"/>
          </p:cNvSpPr>
          <p:nvPr>
            <p:ph type="subTitle" idx="1"/>
          </p:nvPr>
        </p:nvSpPr>
        <p:spPr/>
        <p:txBody>
          <a:bodyPr/>
          <a:lstStyle/>
          <a:p>
            <a:r>
              <a:rPr lang="en-US" dirty="0"/>
              <a:t>Bruce Armistead, Chief of Rail and Operations Delivery</a:t>
            </a:r>
          </a:p>
          <a:p>
            <a:r>
              <a:rPr lang="en-US" dirty="0"/>
              <a:t>March 11, 2024 </a:t>
            </a:r>
          </a:p>
        </p:txBody>
      </p:sp>
      <p:sp>
        <p:nvSpPr>
          <p:cNvPr id="5" name="Slide Number Placeholder 4">
            <a:extLst>
              <a:ext uri="{FF2B5EF4-FFF2-40B4-BE49-F238E27FC236}">
                <a16:creationId xmlns:a16="http://schemas.microsoft.com/office/drawing/2014/main" id="{746F27DE-18CF-10B4-27A0-8CED6D0C3C80}"/>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845ACB-6A9C-4D80-856D-F33308202576}"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spTree>
    <p:extLst>
      <p:ext uri="{BB962C8B-B14F-4D97-AF65-F5344CB8AC3E}">
        <p14:creationId xmlns:p14="http://schemas.microsoft.com/office/powerpoint/2010/main" val="4236193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B38F77-2901-CA03-7706-13A63316427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B02365-8D7D-2EC4-6E2D-8D72E002C98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8" imgW="484" imgH="486" progId="TCLayout.ActiveDocument.1">
                  <p:embed/>
                </p:oleObj>
              </mc:Choice>
              <mc:Fallback>
                <p:oleObj name="think-cell Slide" r:id="rId8" imgW="484" imgH="486" progId="TCLayout.ActiveDocument.1">
                  <p:embed/>
                  <p:pic>
                    <p:nvPicPr>
                      <p:cNvPr id="8" name="think-cell data - do not delete" hidden="1">
                        <a:extLst>
                          <a:ext uri="{FF2B5EF4-FFF2-40B4-BE49-F238E27FC236}">
                            <a16:creationId xmlns:a16="http://schemas.microsoft.com/office/drawing/2014/main" id="{FAB02365-8D7D-2EC4-6E2D-8D72E002C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FD3D61-88A6-3268-37EE-6D30C749FAE6}"/>
              </a:ext>
            </a:extLst>
          </p:cNvPr>
          <p:cNvSpPr>
            <a:spLocks noGrp="1"/>
          </p:cNvSpPr>
          <p:nvPr>
            <p:ph type="title"/>
          </p:nvPr>
        </p:nvSpPr>
        <p:spPr>
          <a:xfrm>
            <a:off x="332732" y="119207"/>
            <a:ext cx="11468101" cy="815975"/>
          </a:xfrm>
        </p:spPr>
        <p:txBody>
          <a:bodyPr vert="horz" lIns="91440" tIns="45720" rIns="91440" bIns="45720" rtlCol="0" anchor="ctr">
            <a:noAutofit/>
          </a:bodyPr>
          <a:lstStyle/>
          <a:p>
            <a:r>
              <a:rPr lang="en-US" sz="3200" dirty="0"/>
              <a:t>The Central Valley Service will connect millions of Californians to High-Speed Rail</a:t>
            </a:r>
          </a:p>
        </p:txBody>
      </p:sp>
      <p:sp>
        <p:nvSpPr>
          <p:cNvPr id="4" name="Footer Placeholder 3">
            <a:extLst>
              <a:ext uri="{FF2B5EF4-FFF2-40B4-BE49-F238E27FC236}">
                <a16:creationId xmlns:a16="http://schemas.microsoft.com/office/drawing/2014/main" id="{69C96F11-3BA1-D9FB-25B2-9E2D9101EC8F}"/>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Narrow"/>
                <a:ea typeface="+mn-ea"/>
                <a:cs typeface="+mn-cs"/>
              </a:rPr>
              <a:t>2024 Draft Business Plan Update</a:t>
            </a:r>
          </a:p>
        </p:txBody>
      </p:sp>
      <p:sp>
        <p:nvSpPr>
          <p:cNvPr id="5" name="Slide Number Placeholder 4">
            <a:extLst>
              <a:ext uri="{FF2B5EF4-FFF2-40B4-BE49-F238E27FC236}">
                <a16:creationId xmlns:a16="http://schemas.microsoft.com/office/drawing/2014/main" id="{6A931C28-C5A5-EA50-1190-C04883BDB629}"/>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845ACB-6A9C-4D80-856D-F33308202576}"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24" name="masterSource">
            <a:extLst>
              <a:ext uri="{FF2B5EF4-FFF2-40B4-BE49-F238E27FC236}">
                <a16:creationId xmlns:a16="http://schemas.microsoft.com/office/drawing/2014/main" id="{C0C56C97-77F0-CA3E-5A9D-61E8ED7993DE}"/>
              </a:ext>
            </a:extLst>
          </p:cNvPr>
          <p:cNvSpPr txBox="1"/>
          <p:nvPr/>
        </p:nvSpPr>
        <p:spPr>
          <a:xfrm>
            <a:off x="371363" y="6345340"/>
            <a:ext cx="0" cy="144016"/>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rPr>
              <a:t>Source: CHSR 2024 Draft Business Plan; Project Update Report 2023, &amp; 2022 Business Plan</a:t>
            </a:r>
          </a:p>
        </p:txBody>
      </p:sp>
      <p:pic>
        <p:nvPicPr>
          <p:cNvPr id="6" name="Picture 5">
            <a:extLst>
              <a:ext uri="{FF2B5EF4-FFF2-40B4-BE49-F238E27FC236}">
                <a16:creationId xmlns:a16="http://schemas.microsoft.com/office/drawing/2014/main" id="{EDD53D09-9A87-5595-249D-278BB6C8032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32732" y="1085397"/>
            <a:ext cx="4204178" cy="4951289"/>
          </a:xfrm>
          <a:prstGeom prst="rect">
            <a:avLst/>
          </a:prstGeom>
          <a:effectLst>
            <a:outerShdw blurRad="50800" dist="38100" dir="2700000" algn="tl" rotWithShape="0">
              <a:prstClr val="black">
                <a:alpha val="40000"/>
              </a:prstClr>
            </a:outerShdw>
          </a:effectLst>
        </p:spPr>
      </p:pic>
      <p:sp>
        <p:nvSpPr>
          <p:cNvPr id="46" name="masterFootnote">
            <a:extLst>
              <a:ext uri="{FF2B5EF4-FFF2-40B4-BE49-F238E27FC236}">
                <a16:creationId xmlns:a16="http://schemas.microsoft.com/office/drawing/2014/main" id="{89AD4D67-02E6-6798-32C8-79CE71F3989C}"/>
              </a:ext>
            </a:extLst>
          </p:cNvPr>
          <p:cNvSpPr txBox="1"/>
          <p:nvPr/>
        </p:nvSpPr>
        <p:spPr>
          <a:xfrm>
            <a:off x="371363" y="6181563"/>
            <a:ext cx="0" cy="144016"/>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mn-cs"/>
              </a:rPr>
              <a:t>(1) These improvements are not applicable if high-speed rail is not implemented (No-Build)</a:t>
            </a:r>
          </a:p>
        </p:txBody>
      </p:sp>
      <p:grpSp>
        <p:nvGrpSpPr>
          <p:cNvPr id="30" name="Group 29">
            <a:extLst>
              <a:ext uri="{FF2B5EF4-FFF2-40B4-BE49-F238E27FC236}">
                <a16:creationId xmlns:a16="http://schemas.microsoft.com/office/drawing/2014/main" id="{E2CAB4C1-7DBF-4762-360F-69B8E2098E40}"/>
              </a:ext>
            </a:extLst>
          </p:cNvPr>
          <p:cNvGrpSpPr/>
          <p:nvPr/>
        </p:nvGrpSpPr>
        <p:grpSpPr>
          <a:xfrm>
            <a:off x="4994234" y="1085397"/>
            <a:ext cx="6671261" cy="1188720"/>
            <a:chOff x="4994234" y="1085397"/>
            <a:chExt cx="6671261" cy="1188720"/>
          </a:xfrm>
        </p:grpSpPr>
        <p:sp>
          <p:nvSpPr>
            <p:cNvPr id="9" name="Textbox">
              <a:extLst>
                <a:ext uri="{FF2B5EF4-FFF2-40B4-BE49-F238E27FC236}">
                  <a16:creationId xmlns:a16="http://schemas.microsoft.com/office/drawing/2014/main" id="{A9589190-BAD2-2CE4-5A72-050A4C7082EC}"/>
                </a:ext>
              </a:extLst>
            </p:cNvPr>
            <p:cNvSpPr txBox="1">
              <a:spLocks/>
            </p:cNvSpPr>
            <p:nvPr/>
          </p:nvSpPr>
          <p:spPr>
            <a:xfrm>
              <a:off x="6419850" y="1085397"/>
              <a:ext cx="5245645" cy="118872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200" b="0"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The Central Valley Service will increase systemwide annual ridership to </a:t>
              </a:r>
              <a:r>
                <a:rPr kumimoji="0" lang="en-US" sz="36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6.6M </a:t>
              </a:r>
              <a:r>
                <a:rPr kumimoji="0" lang="en-US" sz="2200" b="0"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 </a:t>
              </a:r>
              <a:endParaRPr kumimoji="0" lang="en-US" sz="2200" b="1" i="1"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nvGrpSpPr>
            <p:cNvPr id="27" name="Group 26">
              <a:extLst>
                <a:ext uri="{FF2B5EF4-FFF2-40B4-BE49-F238E27FC236}">
                  <a16:creationId xmlns:a16="http://schemas.microsoft.com/office/drawing/2014/main" id="{7073E230-5B00-AE95-F087-8FE5018778C9}"/>
                </a:ext>
              </a:extLst>
            </p:cNvPr>
            <p:cNvGrpSpPr/>
            <p:nvPr/>
          </p:nvGrpSpPr>
          <p:grpSpPr>
            <a:xfrm>
              <a:off x="4994234" y="1131117"/>
              <a:ext cx="1129272" cy="1097280"/>
              <a:chOff x="4994234" y="1085397"/>
              <a:chExt cx="1129272" cy="1097280"/>
            </a:xfrm>
          </p:grpSpPr>
          <p:grpSp>
            <p:nvGrpSpPr>
              <p:cNvPr id="91" name="Group 90">
                <a:extLst>
                  <a:ext uri="{FF2B5EF4-FFF2-40B4-BE49-F238E27FC236}">
                    <a16:creationId xmlns:a16="http://schemas.microsoft.com/office/drawing/2014/main" id="{F2A4E0D3-9057-D107-7818-19340AAD92F1}"/>
                  </a:ext>
                </a:extLst>
              </p:cNvPr>
              <p:cNvGrpSpPr/>
              <p:nvPr/>
            </p:nvGrpSpPr>
            <p:grpSpPr>
              <a:xfrm>
                <a:off x="4994234" y="1268277"/>
                <a:ext cx="731520" cy="731520"/>
                <a:chOff x="12484403" y="1218811"/>
                <a:chExt cx="731520" cy="731520"/>
              </a:xfrm>
            </p:grpSpPr>
            <p:grpSp>
              <p:nvGrpSpPr>
                <p:cNvPr id="84" name="Group 83" descr="Image of mechanical arm bending to represent state of the art practices ">
                  <a:extLst>
                    <a:ext uri="{FF2B5EF4-FFF2-40B4-BE49-F238E27FC236}">
                      <a16:creationId xmlns:a16="http://schemas.microsoft.com/office/drawing/2014/main" id="{88212426-0EEE-F64A-1D9D-10DCCDE4E99C}"/>
                    </a:ext>
                  </a:extLst>
                </p:cNvPr>
                <p:cNvGrpSpPr/>
                <p:nvPr/>
              </p:nvGrpSpPr>
              <p:grpSpPr>
                <a:xfrm>
                  <a:off x="12484403" y="1218811"/>
                  <a:ext cx="731520" cy="731520"/>
                  <a:chOff x="641256" y="1416677"/>
                  <a:chExt cx="1299786" cy="1299786"/>
                </a:xfrm>
              </p:grpSpPr>
              <p:sp>
                <p:nvSpPr>
                  <p:cNvPr id="89" name="Oval 88">
                    <a:extLst>
                      <a:ext uri="{FF2B5EF4-FFF2-40B4-BE49-F238E27FC236}">
                        <a16:creationId xmlns:a16="http://schemas.microsoft.com/office/drawing/2014/main" id="{629CC045-AD46-4A7F-1DDF-5283B8C4E087}"/>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90" name="Textplatzhalter 6">
                    <a:extLst>
                      <a:ext uri="{FF2B5EF4-FFF2-40B4-BE49-F238E27FC236}">
                        <a16:creationId xmlns:a16="http://schemas.microsoft.com/office/drawing/2014/main" id="{9A8D30EA-5532-0C83-523B-6361A4D9DA64}"/>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71" name="easyIcon">
                  <a:extLst>
                    <a:ext uri="{FF2B5EF4-FFF2-40B4-BE49-F238E27FC236}">
                      <a16:creationId xmlns:a16="http://schemas.microsoft.com/office/drawing/2014/main" id="{FE14DC66-78F3-6C54-6035-D899D20205E5}"/>
                    </a:ext>
                  </a:extLst>
                </p:cNvPr>
                <p:cNvGrpSpPr>
                  <a:grpSpLocks noChangeAspect="1"/>
                </p:cNvGrpSpPr>
                <p:nvPr>
                  <p:custDataLst>
                    <p:tags r:id="rId5"/>
                  </p:custDataLst>
                </p:nvPr>
              </p:nvGrpSpPr>
              <p:grpSpPr>
                <a:xfrm>
                  <a:off x="12599656" y="1319213"/>
                  <a:ext cx="506880" cy="506879"/>
                  <a:chOff x="3938928" y="1389563"/>
                  <a:chExt cx="714052" cy="714051"/>
                </a:xfrm>
              </p:grpSpPr>
              <p:sp>
                <p:nvSpPr>
                  <p:cNvPr id="72" name="Background">
                    <a:extLst>
                      <a:ext uri="{FF2B5EF4-FFF2-40B4-BE49-F238E27FC236}">
                        <a16:creationId xmlns:a16="http://schemas.microsoft.com/office/drawing/2014/main" id="{75E38D7E-9B1B-3C88-017F-26FB1F9627EA}"/>
                      </a:ext>
                    </a:extLst>
                  </p:cNvPr>
                  <p:cNvSpPr/>
                  <p:nvPr/>
                </p:nvSpPr>
                <p:spPr>
                  <a:xfrm>
                    <a:off x="3938928" y="1389563"/>
                    <a:ext cx="714052" cy="71405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73" name="Vector">
                    <a:extLst>
                      <a:ext uri="{FF2B5EF4-FFF2-40B4-BE49-F238E27FC236}">
                        <a16:creationId xmlns:a16="http://schemas.microsoft.com/office/drawing/2014/main" id="{7843374B-A084-AE09-9F28-B2D340BAB38D}"/>
                      </a:ext>
                    </a:extLst>
                  </p:cNvPr>
                  <p:cNvSpPr>
                    <a:spLocks noChangeAspect="1"/>
                  </p:cNvSpPr>
                  <p:nvPr/>
                </p:nvSpPr>
                <p:spPr bwMode="gray">
                  <a:xfrm>
                    <a:off x="4007962" y="1458588"/>
                    <a:ext cx="575983" cy="576001"/>
                  </a:xfrm>
                  <a:custGeom>
                    <a:avLst/>
                    <a:gdLst>
                      <a:gd name="connsiteX0" fmla="*/ 87394 w 699148"/>
                      <a:gd name="connsiteY0" fmla="*/ 655451 h 699169"/>
                      <a:gd name="connsiteX1" fmla="*/ 76469 w 699148"/>
                      <a:gd name="connsiteY1" fmla="*/ 666376 h 699169"/>
                      <a:gd name="connsiteX2" fmla="*/ 87394 w 699148"/>
                      <a:gd name="connsiteY2" fmla="*/ 677300 h 699169"/>
                      <a:gd name="connsiteX3" fmla="*/ 98318 w 699148"/>
                      <a:gd name="connsiteY3" fmla="*/ 666370 h 699169"/>
                      <a:gd name="connsiteX4" fmla="*/ 87394 w 699148"/>
                      <a:gd name="connsiteY4" fmla="*/ 655451 h 699169"/>
                      <a:gd name="connsiteX5" fmla="*/ 87394 w 699148"/>
                      <a:gd name="connsiteY5" fmla="*/ 633603 h 699169"/>
                      <a:gd name="connsiteX6" fmla="*/ 120166 w 699148"/>
                      <a:gd name="connsiteY6" fmla="*/ 666370 h 699169"/>
                      <a:gd name="connsiteX7" fmla="*/ 120166 w 699148"/>
                      <a:gd name="connsiteY7" fmla="*/ 666376 h 699169"/>
                      <a:gd name="connsiteX8" fmla="*/ 87394 w 699148"/>
                      <a:gd name="connsiteY8" fmla="*/ 699148 h 699169"/>
                      <a:gd name="connsiteX9" fmla="*/ 54621 w 699148"/>
                      <a:gd name="connsiteY9" fmla="*/ 666376 h 699169"/>
                      <a:gd name="connsiteX10" fmla="*/ 87394 w 699148"/>
                      <a:gd name="connsiteY10" fmla="*/ 633603 h 699169"/>
                      <a:gd name="connsiteX11" fmla="*/ 523989 w 699148"/>
                      <a:gd name="connsiteY11" fmla="*/ 349575 h 699169"/>
                      <a:gd name="connsiteX12" fmla="*/ 688224 w 699148"/>
                      <a:gd name="connsiteY12" fmla="*/ 349575 h 699169"/>
                      <a:gd name="connsiteX13" fmla="*/ 699148 w 699148"/>
                      <a:gd name="connsiteY13" fmla="*/ 360499 h 699169"/>
                      <a:gd name="connsiteX14" fmla="*/ 688224 w 699148"/>
                      <a:gd name="connsiteY14" fmla="*/ 371423 h 699169"/>
                      <a:gd name="connsiteX15" fmla="*/ 541266 w 699148"/>
                      <a:gd name="connsiteY15" fmla="*/ 371423 h 699169"/>
                      <a:gd name="connsiteX16" fmla="*/ 523989 w 699148"/>
                      <a:gd name="connsiteY16" fmla="*/ 349575 h 699169"/>
                      <a:gd name="connsiteX17" fmla="*/ 10924 w 699148"/>
                      <a:gd name="connsiteY17" fmla="*/ 349575 h 699169"/>
                      <a:gd name="connsiteX18" fmla="*/ 260555 w 699148"/>
                      <a:gd name="connsiteY18" fmla="*/ 349575 h 699169"/>
                      <a:gd name="connsiteX19" fmla="*/ 241427 w 699148"/>
                      <a:gd name="connsiteY19" fmla="*/ 371423 h 699169"/>
                      <a:gd name="connsiteX20" fmla="*/ 10924 w 699148"/>
                      <a:gd name="connsiteY20" fmla="*/ 371423 h 699169"/>
                      <a:gd name="connsiteX21" fmla="*/ 0 w 699148"/>
                      <a:gd name="connsiteY21" fmla="*/ 360499 h 699169"/>
                      <a:gd name="connsiteX22" fmla="*/ 10924 w 699148"/>
                      <a:gd name="connsiteY22" fmla="*/ 349575 h 699169"/>
                      <a:gd name="connsiteX23" fmla="*/ 371137 w 699148"/>
                      <a:gd name="connsiteY23" fmla="*/ 266824 h 699169"/>
                      <a:gd name="connsiteX24" fmla="*/ 382615 w 699148"/>
                      <a:gd name="connsiteY24" fmla="*/ 286082 h 699169"/>
                      <a:gd name="connsiteX25" fmla="*/ 369198 w 699148"/>
                      <a:gd name="connsiteY25" fmla="*/ 292721 h 699169"/>
                      <a:gd name="connsiteX26" fmla="*/ 368718 w 699148"/>
                      <a:gd name="connsiteY26" fmla="*/ 293079 h 699169"/>
                      <a:gd name="connsiteX27" fmla="*/ 366269 w 699148"/>
                      <a:gd name="connsiteY27" fmla="*/ 295162 h 699169"/>
                      <a:gd name="connsiteX28" fmla="*/ 239451 w 699148"/>
                      <a:gd name="connsiteY28" fmla="*/ 440014 h 699169"/>
                      <a:gd name="connsiteX29" fmla="*/ 240786 w 699148"/>
                      <a:gd name="connsiteY29" fmla="*/ 458362 h 699169"/>
                      <a:gd name="connsiteX30" fmla="*/ 250941 w 699148"/>
                      <a:gd name="connsiteY30" fmla="*/ 466407 h 699169"/>
                      <a:gd name="connsiteX31" fmla="*/ 303060 w 699148"/>
                      <a:gd name="connsiteY31" fmla="*/ 408989 h 699169"/>
                      <a:gd name="connsiteX32" fmla="*/ 313463 w 699148"/>
                      <a:gd name="connsiteY32" fmla="*/ 405660 h 699169"/>
                      <a:gd name="connsiteX33" fmla="*/ 321820 w 699148"/>
                      <a:gd name="connsiteY33" fmla="*/ 418654 h 699169"/>
                      <a:gd name="connsiteX34" fmla="*/ 319447 w 699148"/>
                      <a:gd name="connsiteY34" fmla="*/ 443580 h 699169"/>
                      <a:gd name="connsiteX35" fmla="*/ 323853 w 699148"/>
                      <a:gd name="connsiteY35" fmla="*/ 568364 h 699169"/>
                      <a:gd name="connsiteX36" fmla="*/ 320273 w 699148"/>
                      <a:gd name="connsiteY36" fmla="*/ 576842 h 699169"/>
                      <a:gd name="connsiteX37" fmla="*/ 244349 w 699148"/>
                      <a:gd name="connsiteY37" fmla="*/ 645702 h 699169"/>
                      <a:gd name="connsiteX38" fmla="*/ 243131 w 699148"/>
                      <a:gd name="connsiteY38" fmla="*/ 646663 h 699169"/>
                      <a:gd name="connsiteX39" fmla="*/ 241618 w 699148"/>
                      <a:gd name="connsiteY39" fmla="*/ 669069 h 699169"/>
                      <a:gd name="connsiteX40" fmla="*/ 267973 w 699148"/>
                      <a:gd name="connsiteY40" fmla="*/ 669561 h 699169"/>
                      <a:gd name="connsiteX41" fmla="*/ 354641 w 699148"/>
                      <a:gd name="connsiteY41" fmla="*/ 591764 h 699169"/>
                      <a:gd name="connsiteX42" fmla="*/ 355734 w 699148"/>
                      <a:gd name="connsiteY42" fmla="*/ 590901 h 699169"/>
                      <a:gd name="connsiteX43" fmla="*/ 362461 w 699148"/>
                      <a:gd name="connsiteY43" fmla="*/ 581681 h 699169"/>
                      <a:gd name="connsiteX44" fmla="*/ 362536 w 699148"/>
                      <a:gd name="connsiteY44" fmla="*/ 506604 h 699169"/>
                      <a:gd name="connsiteX45" fmla="*/ 363939 w 699148"/>
                      <a:gd name="connsiteY45" fmla="*/ 501258 h 699169"/>
                      <a:gd name="connsiteX46" fmla="*/ 378815 w 699148"/>
                      <a:gd name="connsiteY46" fmla="*/ 497094 h 699169"/>
                      <a:gd name="connsiteX47" fmla="*/ 448793 w 699148"/>
                      <a:gd name="connsiteY47" fmla="*/ 536456 h 699169"/>
                      <a:gd name="connsiteX48" fmla="*/ 454362 w 699148"/>
                      <a:gd name="connsiteY48" fmla="*/ 545948 h 699169"/>
                      <a:gd name="connsiteX49" fmla="*/ 454687 w 699148"/>
                      <a:gd name="connsiteY49" fmla="*/ 662088 h 699169"/>
                      <a:gd name="connsiteX50" fmla="*/ 454688 w 699148"/>
                      <a:gd name="connsiteY50" fmla="*/ 663929 h 699169"/>
                      <a:gd name="connsiteX51" fmla="*/ 469916 w 699148"/>
                      <a:gd name="connsiteY51" fmla="*/ 677300 h 699169"/>
                      <a:gd name="connsiteX52" fmla="*/ 471227 w 699148"/>
                      <a:gd name="connsiteY52" fmla="*/ 677317 h 699169"/>
                      <a:gd name="connsiteX53" fmla="*/ 485726 w 699148"/>
                      <a:gd name="connsiteY53" fmla="*/ 661865 h 699169"/>
                      <a:gd name="connsiteX54" fmla="*/ 485982 w 699148"/>
                      <a:gd name="connsiteY54" fmla="*/ 537929 h 699169"/>
                      <a:gd name="connsiteX55" fmla="*/ 468924 w 699148"/>
                      <a:gd name="connsiteY55" fmla="*/ 509651 h 699169"/>
                      <a:gd name="connsiteX56" fmla="*/ 395479 w 699148"/>
                      <a:gd name="connsiteY56" fmla="*/ 458283 h 699169"/>
                      <a:gd name="connsiteX57" fmla="*/ 391244 w 699148"/>
                      <a:gd name="connsiteY57" fmla="*/ 446332 h 699169"/>
                      <a:gd name="connsiteX58" fmla="*/ 400082 w 699148"/>
                      <a:gd name="connsiteY58" fmla="*/ 415424 h 699169"/>
                      <a:gd name="connsiteX59" fmla="*/ 410585 w 699148"/>
                      <a:gd name="connsiteY59" fmla="*/ 407503 h 699169"/>
                      <a:gd name="connsiteX60" fmla="*/ 489199 w 699148"/>
                      <a:gd name="connsiteY60" fmla="*/ 407503 h 699169"/>
                      <a:gd name="connsiteX61" fmla="*/ 489677 w 699148"/>
                      <a:gd name="connsiteY61" fmla="*/ 407503 h 699169"/>
                      <a:gd name="connsiteX62" fmla="*/ 502500 w 699148"/>
                      <a:gd name="connsiteY62" fmla="*/ 394201 h 699169"/>
                      <a:gd name="connsiteX63" fmla="*/ 489199 w 699148"/>
                      <a:gd name="connsiteY63" fmla="*/ 381377 h 699169"/>
                      <a:gd name="connsiteX64" fmla="*/ 424309 w 699148"/>
                      <a:gd name="connsiteY64" fmla="*/ 381377 h 699169"/>
                      <a:gd name="connsiteX65" fmla="*/ 421309 w 699148"/>
                      <a:gd name="connsiteY65" fmla="*/ 380956 h 699169"/>
                      <a:gd name="connsiteX66" fmla="*/ 413807 w 699148"/>
                      <a:gd name="connsiteY66" fmla="*/ 367449 h 699169"/>
                      <a:gd name="connsiteX67" fmla="*/ 426395 w 699148"/>
                      <a:gd name="connsiteY67" fmla="*/ 323409 h 699169"/>
                      <a:gd name="connsiteX68" fmla="*/ 426524 w 699148"/>
                      <a:gd name="connsiteY68" fmla="*/ 310599 h 699169"/>
                      <a:gd name="connsiteX69" fmla="*/ 436802 w 699148"/>
                      <a:gd name="connsiteY69" fmla="*/ 311361 h 699169"/>
                      <a:gd name="connsiteX70" fmla="*/ 448597 w 699148"/>
                      <a:gd name="connsiteY70" fmla="*/ 310274 h 699169"/>
                      <a:gd name="connsiteX71" fmla="*/ 447486 w 699148"/>
                      <a:gd name="connsiteY71" fmla="*/ 329105 h 699169"/>
                      <a:gd name="connsiteX72" fmla="*/ 438792 w 699148"/>
                      <a:gd name="connsiteY72" fmla="*/ 359528 h 699169"/>
                      <a:gd name="connsiteX73" fmla="*/ 489199 w 699148"/>
                      <a:gd name="connsiteY73" fmla="*/ 359528 h 699169"/>
                      <a:gd name="connsiteX74" fmla="*/ 489708 w 699148"/>
                      <a:gd name="connsiteY74" fmla="*/ 359528 h 699169"/>
                      <a:gd name="connsiteX75" fmla="*/ 524365 w 699148"/>
                      <a:gd name="connsiteY75" fmla="*/ 394694 h 699169"/>
                      <a:gd name="connsiteX76" fmla="*/ 489199 w 699148"/>
                      <a:gd name="connsiteY76" fmla="*/ 429351 h 699169"/>
                      <a:gd name="connsiteX77" fmla="*/ 418821 w 699148"/>
                      <a:gd name="connsiteY77" fmla="*/ 429351 h 699169"/>
                      <a:gd name="connsiteX78" fmla="*/ 414388 w 699148"/>
                      <a:gd name="connsiteY78" fmla="*/ 444855 h 699169"/>
                      <a:gd name="connsiteX79" fmla="*/ 481352 w 699148"/>
                      <a:gd name="connsiteY79" fmla="*/ 491683 h 699169"/>
                      <a:gd name="connsiteX80" fmla="*/ 507825 w 699148"/>
                      <a:gd name="connsiteY80" fmla="*/ 537628 h 699169"/>
                      <a:gd name="connsiteX81" fmla="*/ 507574 w 699148"/>
                      <a:gd name="connsiteY81" fmla="*/ 661886 h 699169"/>
                      <a:gd name="connsiteX82" fmla="*/ 507566 w 699148"/>
                      <a:gd name="connsiteY82" fmla="*/ 663405 h 699169"/>
                      <a:gd name="connsiteX83" fmla="*/ 469916 w 699148"/>
                      <a:gd name="connsiteY83" fmla="*/ 699149 h 699169"/>
                      <a:gd name="connsiteX84" fmla="*/ 467530 w 699148"/>
                      <a:gd name="connsiteY84" fmla="*/ 699149 h 699169"/>
                      <a:gd name="connsiteX85" fmla="*/ 432839 w 699148"/>
                      <a:gd name="connsiteY85" fmla="*/ 662116 h 699169"/>
                      <a:gd name="connsiteX86" fmla="*/ 432529 w 699148"/>
                      <a:gd name="connsiteY86" fmla="*/ 552377 h 699169"/>
                      <a:gd name="connsiteX87" fmla="*/ 384362 w 699148"/>
                      <a:gd name="connsiteY87" fmla="*/ 525282 h 699169"/>
                      <a:gd name="connsiteX88" fmla="*/ 384309 w 699148"/>
                      <a:gd name="connsiteY88" fmla="*/ 581681 h 699169"/>
                      <a:gd name="connsiteX89" fmla="*/ 368766 w 699148"/>
                      <a:gd name="connsiteY89" fmla="*/ 608451 h 699169"/>
                      <a:gd name="connsiteX90" fmla="*/ 282333 w 699148"/>
                      <a:gd name="connsiteY90" fmla="*/ 686029 h 699169"/>
                      <a:gd name="connsiteX91" fmla="*/ 281879 w 699148"/>
                      <a:gd name="connsiteY91" fmla="*/ 686417 h 699169"/>
                      <a:gd name="connsiteX92" fmla="*/ 224815 w 699148"/>
                      <a:gd name="connsiteY92" fmla="*/ 683030 h 699169"/>
                      <a:gd name="connsiteX93" fmla="*/ 224335 w 699148"/>
                      <a:gd name="connsiteY93" fmla="*/ 682451 h 699169"/>
                      <a:gd name="connsiteX94" fmla="*/ 229888 w 699148"/>
                      <a:gd name="connsiteY94" fmla="*/ 629327 h 699169"/>
                      <a:gd name="connsiteX95" fmla="*/ 301839 w 699148"/>
                      <a:gd name="connsiteY95" fmla="*/ 564066 h 699169"/>
                      <a:gd name="connsiteX96" fmla="*/ 297721 w 699148"/>
                      <a:gd name="connsiteY96" fmla="*/ 447375 h 699169"/>
                      <a:gd name="connsiteX97" fmla="*/ 129951 w 699148"/>
                      <a:gd name="connsiteY97" fmla="*/ 632216 h 699169"/>
                      <a:gd name="connsiteX98" fmla="*/ 113143 w 699148"/>
                      <a:gd name="connsiteY98" fmla="*/ 618228 h 699169"/>
                      <a:gd name="connsiteX99" fmla="*/ 197846 w 699148"/>
                      <a:gd name="connsiteY99" fmla="*/ 524911 h 699169"/>
                      <a:gd name="connsiteX100" fmla="*/ 139412 w 699148"/>
                      <a:gd name="connsiteY100" fmla="*/ 471917 h 699169"/>
                      <a:gd name="connsiteX101" fmla="*/ 128775 w 699148"/>
                      <a:gd name="connsiteY101" fmla="*/ 474245 h 699169"/>
                      <a:gd name="connsiteX102" fmla="*/ 24579 w 699148"/>
                      <a:gd name="connsiteY102" fmla="*/ 588935 h 699169"/>
                      <a:gd name="connsiteX103" fmla="*/ 21859 w 699148"/>
                      <a:gd name="connsiteY103" fmla="*/ 595855 h 699169"/>
                      <a:gd name="connsiteX104" fmla="*/ 23416 w 699148"/>
                      <a:gd name="connsiteY104" fmla="*/ 599455 h 699169"/>
                      <a:gd name="connsiteX105" fmla="*/ 51976 w 699148"/>
                      <a:gd name="connsiteY105" fmla="*/ 624875 h 699169"/>
                      <a:gd name="connsiteX106" fmla="*/ 38513 w 699148"/>
                      <a:gd name="connsiteY106" fmla="*/ 642146 h 699169"/>
                      <a:gd name="connsiteX107" fmla="*/ 8870 w 699148"/>
                      <a:gd name="connsiteY107" fmla="*/ 615759 h 699169"/>
                      <a:gd name="connsiteX108" fmla="*/ 37 w 699148"/>
                      <a:gd name="connsiteY108" fmla="*/ 596980 h 699169"/>
                      <a:gd name="connsiteX109" fmla="*/ 8412 w 699148"/>
                      <a:gd name="connsiteY109" fmla="*/ 574242 h 699169"/>
                      <a:gd name="connsiteX110" fmla="*/ 112597 w 699148"/>
                      <a:gd name="connsiteY110" fmla="*/ 459563 h 699169"/>
                      <a:gd name="connsiteX111" fmla="*/ 135939 w 699148"/>
                      <a:gd name="connsiteY111" fmla="*/ 448903 h 699169"/>
                      <a:gd name="connsiteX112" fmla="*/ 154026 w 699148"/>
                      <a:gd name="connsiteY112" fmla="*/ 455678 h 699169"/>
                      <a:gd name="connsiteX113" fmla="*/ 212531 w 699148"/>
                      <a:gd name="connsiteY113" fmla="*/ 508733 h 699169"/>
                      <a:gd name="connsiteX114" fmla="*/ 236214 w 699148"/>
                      <a:gd name="connsiteY114" fmla="*/ 482636 h 699169"/>
                      <a:gd name="connsiteX115" fmla="*/ 226554 w 699148"/>
                      <a:gd name="connsiteY115" fmla="*/ 474936 h 699169"/>
                      <a:gd name="connsiteX116" fmla="*/ 226243 w 699148"/>
                      <a:gd name="connsiteY116" fmla="*/ 474667 h 699169"/>
                      <a:gd name="connsiteX117" fmla="*/ 223007 w 699148"/>
                      <a:gd name="connsiteY117" fmla="*/ 425628 h 699169"/>
                      <a:gd name="connsiteX118" fmla="*/ 349803 w 699148"/>
                      <a:gd name="connsiteY118" fmla="*/ 280805 h 699169"/>
                      <a:gd name="connsiteX119" fmla="*/ 355895 w 699148"/>
                      <a:gd name="connsiteY119" fmla="*/ 275391 h 699169"/>
                      <a:gd name="connsiteX120" fmla="*/ 371137 w 699148"/>
                      <a:gd name="connsiteY120" fmla="*/ 266824 h 699169"/>
                      <a:gd name="connsiteX121" fmla="*/ 655451 w 699148"/>
                      <a:gd name="connsiteY121" fmla="*/ 223946 h 699169"/>
                      <a:gd name="connsiteX122" fmla="*/ 655451 w 699148"/>
                      <a:gd name="connsiteY122" fmla="*/ 256718 h 699169"/>
                      <a:gd name="connsiteX123" fmla="*/ 677299 w 699148"/>
                      <a:gd name="connsiteY123" fmla="*/ 256718 h 699169"/>
                      <a:gd name="connsiteX124" fmla="*/ 677299 w 699148"/>
                      <a:gd name="connsiteY124" fmla="*/ 223946 h 699169"/>
                      <a:gd name="connsiteX125" fmla="*/ 431244 w 699148"/>
                      <a:gd name="connsiteY125" fmla="*/ 213627 h 699169"/>
                      <a:gd name="connsiteX126" fmla="*/ 410260 w 699148"/>
                      <a:gd name="connsiteY126" fmla="*/ 246021 h 699169"/>
                      <a:gd name="connsiteX127" fmla="*/ 410260 w 699148"/>
                      <a:gd name="connsiteY127" fmla="*/ 246027 h 699169"/>
                      <a:gd name="connsiteX128" fmla="*/ 422102 w 699148"/>
                      <a:gd name="connsiteY128" fmla="*/ 263242 h 699169"/>
                      <a:gd name="connsiteX129" fmla="*/ 442661 w 699148"/>
                      <a:gd name="connsiteY129" fmla="*/ 267031 h 699169"/>
                      <a:gd name="connsiteX130" fmla="*/ 463655 w 699148"/>
                      <a:gd name="connsiteY130" fmla="*/ 234621 h 699169"/>
                      <a:gd name="connsiteX131" fmla="*/ 431245 w 699148"/>
                      <a:gd name="connsiteY131" fmla="*/ 213627 h 699169"/>
                      <a:gd name="connsiteX132" fmla="*/ 437122 w 699148"/>
                      <a:gd name="connsiteY132" fmla="*/ 191169 h 699169"/>
                      <a:gd name="connsiteX133" fmla="*/ 486150 w 699148"/>
                      <a:gd name="connsiteY133" fmla="*/ 240474 h 699169"/>
                      <a:gd name="connsiteX134" fmla="*/ 436845 w 699148"/>
                      <a:gd name="connsiteY134" fmla="*/ 289502 h 699169"/>
                      <a:gd name="connsiteX135" fmla="*/ 410212 w 699148"/>
                      <a:gd name="connsiteY135" fmla="*/ 281573 h 699169"/>
                      <a:gd name="connsiteX136" fmla="*/ 388892 w 699148"/>
                      <a:gd name="connsiteY136" fmla="*/ 250566 h 699169"/>
                      <a:gd name="connsiteX137" fmla="*/ 388892 w 699148"/>
                      <a:gd name="connsiteY137" fmla="*/ 250561 h 699169"/>
                      <a:gd name="connsiteX138" fmla="*/ 387817 w 699148"/>
                      <a:gd name="connsiteY138" fmla="*/ 240198 h 699169"/>
                      <a:gd name="connsiteX139" fmla="*/ 437122 w 699148"/>
                      <a:gd name="connsiteY139" fmla="*/ 191169 h 699169"/>
                      <a:gd name="connsiteX140" fmla="*/ 229408 w 699148"/>
                      <a:gd name="connsiteY140" fmla="*/ 185712 h 699169"/>
                      <a:gd name="connsiteX141" fmla="*/ 284029 w 699148"/>
                      <a:gd name="connsiteY141" fmla="*/ 185712 h 699169"/>
                      <a:gd name="connsiteX142" fmla="*/ 294953 w 699148"/>
                      <a:gd name="connsiteY142" fmla="*/ 196636 h 699169"/>
                      <a:gd name="connsiteX143" fmla="*/ 284029 w 699148"/>
                      <a:gd name="connsiteY143" fmla="*/ 207560 h 699169"/>
                      <a:gd name="connsiteX144" fmla="*/ 229408 w 699148"/>
                      <a:gd name="connsiteY144" fmla="*/ 207560 h 699169"/>
                      <a:gd name="connsiteX145" fmla="*/ 218484 w 699148"/>
                      <a:gd name="connsiteY145" fmla="*/ 196636 h 699169"/>
                      <a:gd name="connsiteX146" fmla="*/ 229408 w 699148"/>
                      <a:gd name="connsiteY146" fmla="*/ 185712 h 699169"/>
                      <a:gd name="connsiteX147" fmla="*/ 410142 w 699148"/>
                      <a:gd name="connsiteY147" fmla="*/ 76469 h 699169"/>
                      <a:gd name="connsiteX148" fmla="*/ 398733 w 699148"/>
                      <a:gd name="connsiteY148" fmla="*/ 88543 h 699169"/>
                      <a:gd name="connsiteX149" fmla="*/ 398733 w 699148"/>
                      <a:gd name="connsiteY149" fmla="*/ 151790 h 699169"/>
                      <a:gd name="connsiteX150" fmla="*/ 410142 w 699148"/>
                      <a:gd name="connsiteY150" fmla="*/ 163863 h 699169"/>
                      <a:gd name="connsiteX151" fmla="*/ 595100 w 699148"/>
                      <a:gd name="connsiteY151" fmla="*/ 163863 h 699169"/>
                      <a:gd name="connsiteX152" fmla="*/ 595367 w 699148"/>
                      <a:gd name="connsiteY152" fmla="*/ 163199 h 699169"/>
                      <a:gd name="connsiteX153" fmla="*/ 595488 w 699148"/>
                      <a:gd name="connsiteY153" fmla="*/ 163057 h 699169"/>
                      <a:gd name="connsiteX154" fmla="*/ 478301 w 699148"/>
                      <a:gd name="connsiteY154" fmla="*/ 77518 h 699169"/>
                      <a:gd name="connsiteX155" fmla="*/ 475079 w 699148"/>
                      <a:gd name="connsiteY155" fmla="*/ 76469 h 699169"/>
                      <a:gd name="connsiteX156" fmla="*/ 410142 w 699148"/>
                      <a:gd name="connsiteY156" fmla="*/ 54621 h 699169"/>
                      <a:gd name="connsiteX157" fmla="*/ 475079 w 699148"/>
                      <a:gd name="connsiteY157" fmla="*/ 54621 h 699169"/>
                      <a:gd name="connsiteX158" fmla="*/ 491177 w 699148"/>
                      <a:gd name="connsiteY158" fmla="*/ 59867 h 699169"/>
                      <a:gd name="connsiteX159" fmla="*/ 608842 w 699148"/>
                      <a:gd name="connsiteY159" fmla="*/ 145762 h 699169"/>
                      <a:gd name="connsiteX160" fmla="*/ 609662 w 699148"/>
                      <a:gd name="connsiteY160" fmla="*/ 146420 h 699169"/>
                      <a:gd name="connsiteX161" fmla="*/ 615714 w 699148"/>
                      <a:gd name="connsiteY161" fmla="*/ 171371 h 699169"/>
                      <a:gd name="connsiteX162" fmla="*/ 595100 w 699148"/>
                      <a:gd name="connsiteY162" fmla="*/ 185711 h 699169"/>
                      <a:gd name="connsiteX163" fmla="*/ 482180 w 699148"/>
                      <a:gd name="connsiteY163" fmla="*/ 185711 h 699169"/>
                      <a:gd name="connsiteX164" fmla="*/ 395987 w 699148"/>
                      <a:gd name="connsiteY164" fmla="*/ 182440 h 699169"/>
                      <a:gd name="connsiteX165" fmla="*/ 376884 w 699148"/>
                      <a:gd name="connsiteY165" fmla="*/ 151790 h 699169"/>
                      <a:gd name="connsiteX166" fmla="*/ 376884 w 699148"/>
                      <a:gd name="connsiteY166" fmla="*/ 88543 h 699169"/>
                      <a:gd name="connsiteX167" fmla="*/ 410142 w 699148"/>
                      <a:gd name="connsiteY167" fmla="*/ 54621 h 699169"/>
                      <a:gd name="connsiteX168" fmla="*/ 207560 w 699148"/>
                      <a:gd name="connsiteY168" fmla="*/ 54621 h 699169"/>
                      <a:gd name="connsiteX169" fmla="*/ 305877 w 699148"/>
                      <a:gd name="connsiteY169" fmla="*/ 54621 h 699169"/>
                      <a:gd name="connsiteX170" fmla="*/ 338650 w 699148"/>
                      <a:gd name="connsiteY170" fmla="*/ 87394 h 699169"/>
                      <a:gd name="connsiteX171" fmla="*/ 338650 w 699148"/>
                      <a:gd name="connsiteY171" fmla="*/ 261242 h 699169"/>
                      <a:gd name="connsiteX172" fmla="*/ 333364 w 699148"/>
                      <a:gd name="connsiteY172" fmla="*/ 266413 h 699169"/>
                      <a:gd name="connsiteX173" fmla="*/ 316801 w 699148"/>
                      <a:gd name="connsiteY173" fmla="*/ 285331 h 699169"/>
                      <a:gd name="connsiteX174" fmla="*/ 316801 w 699148"/>
                      <a:gd name="connsiteY174" fmla="*/ 87394 h 699169"/>
                      <a:gd name="connsiteX175" fmla="*/ 305877 w 699148"/>
                      <a:gd name="connsiteY175" fmla="*/ 76469 h 699169"/>
                      <a:gd name="connsiteX176" fmla="*/ 207560 w 699148"/>
                      <a:gd name="connsiteY176" fmla="*/ 76469 h 699169"/>
                      <a:gd name="connsiteX177" fmla="*/ 196635 w 699148"/>
                      <a:gd name="connsiteY177" fmla="*/ 87394 h 699169"/>
                      <a:gd name="connsiteX178" fmla="*/ 196635 w 699148"/>
                      <a:gd name="connsiteY178" fmla="*/ 305877 h 699169"/>
                      <a:gd name="connsiteX179" fmla="*/ 298812 w 699148"/>
                      <a:gd name="connsiteY179" fmla="*/ 305877 h 699169"/>
                      <a:gd name="connsiteX180" fmla="*/ 279684 w 699148"/>
                      <a:gd name="connsiteY180" fmla="*/ 327726 h 699169"/>
                      <a:gd name="connsiteX181" fmla="*/ 10924 w 699148"/>
                      <a:gd name="connsiteY181" fmla="*/ 327726 h 699169"/>
                      <a:gd name="connsiteX182" fmla="*/ 0 w 699148"/>
                      <a:gd name="connsiteY182" fmla="*/ 316802 h 699169"/>
                      <a:gd name="connsiteX183" fmla="*/ 10924 w 699148"/>
                      <a:gd name="connsiteY183" fmla="*/ 305877 h 699169"/>
                      <a:gd name="connsiteX184" fmla="*/ 174787 w 699148"/>
                      <a:gd name="connsiteY184" fmla="*/ 305877 h 699169"/>
                      <a:gd name="connsiteX185" fmla="*/ 174787 w 699148"/>
                      <a:gd name="connsiteY185" fmla="*/ 87394 h 699169"/>
                      <a:gd name="connsiteX186" fmla="*/ 207560 w 699148"/>
                      <a:gd name="connsiteY186" fmla="*/ 54621 h 699169"/>
                      <a:gd name="connsiteX187" fmla="*/ 10924 w 699148"/>
                      <a:gd name="connsiteY187" fmla="*/ 54621 h 699169"/>
                      <a:gd name="connsiteX188" fmla="*/ 120166 w 699148"/>
                      <a:gd name="connsiteY188" fmla="*/ 54621 h 699169"/>
                      <a:gd name="connsiteX189" fmla="*/ 152939 w 699148"/>
                      <a:gd name="connsiteY189" fmla="*/ 87394 h 699169"/>
                      <a:gd name="connsiteX190" fmla="*/ 152939 w 699148"/>
                      <a:gd name="connsiteY190" fmla="*/ 196635 h 699169"/>
                      <a:gd name="connsiteX191" fmla="*/ 120166 w 699148"/>
                      <a:gd name="connsiteY191" fmla="*/ 229408 h 699169"/>
                      <a:gd name="connsiteX192" fmla="*/ 10924 w 699148"/>
                      <a:gd name="connsiteY192" fmla="*/ 229408 h 699169"/>
                      <a:gd name="connsiteX193" fmla="*/ 0 w 699148"/>
                      <a:gd name="connsiteY193" fmla="*/ 218484 h 699169"/>
                      <a:gd name="connsiteX194" fmla="*/ 10924 w 699148"/>
                      <a:gd name="connsiteY194" fmla="*/ 207560 h 699169"/>
                      <a:gd name="connsiteX195" fmla="*/ 120166 w 699148"/>
                      <a:gd name="connsiteY195" fmla="*/ 207560 h 699169"/>
                      <a:gd name="connsiteX196" fmla="*/ 131090 w 699148"/>
                      <a:gd name="connsiteY196" fmla="*/ 196635 h 699169"/>
                      <a:gd name="connsiteX197" fmla="*/ 131090 w 699148"/>
                      <a:gd name="connsiteY197" fmla="*/ 87394 h 699169"/>
                      <a:gd name="connsiteX198" fmla="*/ 120166 w 699148"/>
                      <a:gd name="connsiteY198" fmla="*/ 76469 h 699169"/>
                      <a:gd name="connsiteX199" fmla="*/ 10924 w 699148"/>
                      <a:gd name="connsiteY199" fmla="*/ 76469 h 699169"/>
                      <a:gd name="connsiteX200" fmla="*/ 0 w 699148"/>
                      <a:gd name="connsiteY200" fmla="*/ 65545 h 699169"/>
                      <a:gd name="connsiteX201" fmla="*/ 10924 w 699148"/>
                      <a:gd name="connsiteY201" fmla="*/ 54621 h 699169"/>
                      <a:gd name="connsiteX202" fmla="*/ 10924 w 699148"/>
                      <a:gd name="connsiteY202" fmla="*/ 0 h 699169"/>
                      <a:gd name="connsiteX203" fmla="*/ 471825 w 699148"/>
                      <a:gd name="connsiteY203" fmla="*/ 0 h 699169"/>
                      <a:gd name="connsiteX204" fmla="*/ 564720 w 699148"/>
                      <a:gd name="connsiteY204" fmla="*/ 32935 h 699169"/>
                      <a:gd name="connsiteX205" fmla="*/ 678932 w 699148"/>
                      <a:gd name="connsiteY205" fmla="*/ 125559 h 699169"/>
                      <a:gd name="connsiteX206" fmla="*/ 699147 w 699148"/>
                      <a:gd name="connsiteY206" fmla="*/ 167981 h 699169"/>
                      <a:gd name="connsiteX207" fmla="*/ 699147 w 699148"/>
                      <a:gd name="connsiteY207" fmla="*/ 273105 h 699169"/>
                      <a:gd name="connsiteX208" fmla="*/ 644527 w 699148"/>
                      <a:gd name="connsiteY208" fmla="*/ 327726 h 699169"/>
                      <a:gd name="connsiteX209" fmla="*/ 469973 w 699148"/>
                      <a:gd name="connsiteY209" fmla="*/ 327726 h 699169"/>
                      <a:gd name="connsiteX210" fmla="*/ 469971 w 699148"/>
                      <a:gd name="connsiteY210" fmla="*/ 305877 h 699169"/>
                      <a:gd name="connsiteX211" fmla="*/ 644527 w 699148"/>
                      <a:gd name="connsiteY211" fmla="*/ 305877 h 699169"/>
                      <a:gd name="connsiteX212" fmla="*/ 676808 w 699148"/>
                      <a:gd name="connsiteY212" fmla="*/ 278567 h 699169"/>
                      <a:gd name="connsiteX213" fmla="*/ 655451 w 699148"/>
                      <a:gd name="connsiteY213" fmla="*/ 278567 h 699169"/>
                      <a:gd name="connsiteX214" fmla="*/ 633602 w 699148"/>
                      <a:gd name="connsiteY214" fmla="*/ 256718 h 699169"/>
                      <a:gd name="connsiteX215" fmla="*/ 633602 w 699148"/>
                      <a:gd name="connsiteY215" fmla="*/ 223946 h 699169"/>
                      <a:gd name="connsiteX216" fmla="*/ 655451 w 699148"/>
                      <a:gd name="connsiteY216" fmla="*/ 202097 h 699169"/>
                      <a:gd name="connsiteX217" fmla="*/ 677299 w 699148"/>
                      <a:gd name="connsiteY217" fmla="*/ 202097 h 699169"/>
                      <a:gd name="connsiteX218" fmla="*/ 677299 w 699148"/>
                      <a:gd name="connsiteY218" fmla="*/ 167981 h 699169"/>
                      <a:gd name="connsiteX219" fmla="*/ 665168 w 699148"/>
                      <a:gd name="connsiteY219" fmla="*/ 142527 h 699169"/>
                      <a:gd name="connsiteX220" fmla="*/ 550955 w 699148"/>
                      <a:gd name="connsiteY220" fmla="*/ 49903 h 699169"/>
                      <a:gd name="connsiteX221" fmla="*/ 471825 w 699148"/>
                      <a:gd name="connsiteY221" fmla="*/ 21848 h 699169"/>
                      <a:gd name="connsiteX222" fmla="*/ 10924 w 699148"/>
                      <a:gd name="connsiteY222" fmla="*/ 21848 h 699169"/>
                      <a:gd name="connsiteX223" fmla="*/ 0 w 699148"/>
                      <a:gd name="connsiteY223" fmla="*/ 10924 h 699169"/>
                      <a:gd name="connsiteX224" fmla="*/ 10924 w 699148"/>
                      <a:gd name="connsiteY224" fmla="*/ 0 h 699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699148" h="699169">
                        <a:moveTo>
                          <a:pt x="87394" y="655451"/>
                        </a:moveTo>
                        <a:cubicBezTo>
                          <a:pt x="81360" y="655451"/>
                          <a:pt x="76469" y="660340"/>
                          <a:pt x="76469" y="666376"/>
                        </a:cubicBezTo>
                        <a:cubicBezTo>
                          <a:pt x="76469" y="672411"/>
                          <a:pt x="81360" y="677300"/>
                          <a:pt x="87394" y="677300"/>
                        </a:cubicBezTo>
                        <a:cubicBezTo>
                          <a:pt x="93425" y="677289"/>
                          <a:pt x="98312" y="672400"/>
                          <a:pt x="98318" y="666370"/>
                        </a:cubicBezTo>
                        <a:cubicBezTo>
                          <a:pt x="98314" y="660340"/>
                          <a:pt x="93425" y="655451"/>
                          <a:pt x="87394" y="655451"/>
                        </a:cubicBezTo>
                        <a:close/>
                        <a:moveTo>
                          <a:pt x="87394" y="633603"/>
                        </a:moveTo>
                        <a:cubicBezTo>
                          <a:pt x="105483" y="633619"/>
                          <a:pt x="120145" y="648280"/>
                          <a:pt x="120166" y="666370"/>
                        </a:cubicBezTo>
                        <a:cubicBezTo>
                          <a:pt x="120166" y="666370"/>
                          <a:pt x="120166" y="666376"/>
                          <a:pt x="120166" y="666376"/>
                        </a:cubicBezTo>
                        <a:cubicBezTo>
                          <a:pt x="120166" y="684477"/>
                          <a:pt x="105493" y="699148"/>
                          <a:pt x="87394" y="699148"/>
                        </a:cubicBezTo>
                        <a:cubicBezTo>
                          <a:pt x="69294" y="699148"/>
                          <a:pt x="54621" y="684477"/>
                          <a:pt x="54621" y="666376"/>
                        </a:cubicBezTo>
                        <a:cubicBezTo>
                          <a:pt x="54621" y="648274"/>
                          <a:pt x="69294" y="633603"/>
                          <a:pt x="87394" y="633603"/>
                        </a:cubicBezTo>
                        <a:close/>
                        <a:moveTo>
                          <a:pt x="523989" y="349575"/>
                        </a:moveTo>
                        <a:lnTo>
                          <a:pt x="688224" y="349575"/>
                        </a:lnTo>
                        <a:cubicBezTo>
                          <a:pt x="694259" y="349575"/>
                          <a:pt x="699148" y="354466"/>
                          <a:pt x="699148" y="360499"/>
                        </a:cubicBezTo>
                        <a:cubicBezTo>
                          <a:pt x="699148" y="366533"/>
                          <a:pt x="694259" y="371423"/>
                          <a:pt x="688224" y="371423"/>
                        </a:cubicBezTo>
                        <a:lnTo>
                          <a:pt x="541266" y="371423"/>
                        </a:lnTo>
                        <a:cubicBezTo>
                          <a:pt x="537400" y="362825"/>
                          <a:pt x="531464" y="355319"/>
                          <a:pt x="523989" y="349575"/>
                        </a:cubicBezTo>
                        <a:close/>
                        <a:moveTo>
                          <a:pt x="10924" y="349575"/>
                        </a:moveTo>
                        <a:lnTo>
                          <a:pt x="260555" y="349575"/>
                        </a:lnTo>
                        <a:lnTo>
                          <a:pt x="241427" y="371423"/>
                        </a:lnTo>
                        <a:lnTo>
                          <a:pt x="10924" y="371423"/>
                        </a:lnTo>
                        <a:cubicBezTo>
                          <a:pt x="4891" y="371423"/>
                          <a:pt x="0" y="366533"/>
                          <a:pt x="0" y="360499"/>
                        </a:cubicBezTo>
                        <a:cubicBezTo>
                          <a:pt x="0" y="354466"/>
                          <a:pt x="4891" y="349575"/>
                          <a:pt x="10924" y="349575"/>
                        </a:cubicBezTo>
                        <a:close/>
                        <a:moveTo>
                          <a:pt x="371137" y="266824"/>
                        </a:moveTo>
                        <a:cubicBezTo>
                          <a:pt x="373905" y="273818"/>
                          <a:pt x="377781" y="280320"/>
                          <a:pt x="382615" y="286082"/>
                        </a:cubicBezTo>
                        <a:cubicBezTo>
                          <a:pt x="377761" y="287422"/>
                          <a:pt x="373207" y="289675"/>
                          <a:pt x="369198" y="292721"/>
                        </a:cubicBezTo>
                        <a:cubicBezTo>
                          <a:pt x="369043" y="292844"/>
                          <a:pt x="368883" y="292964"/>
                          <a:pt x="368718" y="293079"/>
                        </a:cubicBezTo>
                        <a:cubicBezTo>
                          <a:pt x="367823" y="293676"/>
                          <a:pt x="367002" y="294375"/>
                          <a:pt x="366269" y="295162"/>
                        </a:cubicBezTo>
                        <a:lnTo>
                          <a:pt x="239451" y="440014"/>
                        </a:lnTo>
                        <a:cubicBezTo>
                          <a:pt x="234859" y="445484"/>
                          <a:pt x="235450" y="453614"/>
                          <a:pt x="240786" y="458362"/>
                        </a:cubicBezTo>
                        <a:cubicBezTo>
                          <a:pt x="241731" y="459173"/>
                          <a:pt x="246371" y="462874"/>
                          <a:pt x="250941" y="466407"/>
                        </a:cubicBezTo>
                        <a:lnTo>
                          <a:pt x="303060" y="408989"/>
                        </a:lnTo>
                        <a:cubicBezTo>
                          <a:pt x="305685" y="406101"/>
                          <a:pt x="309650" y="404832"/>
                          <a:pt x="313463" y="405660"/>
                        </a:cubicBezTo>
                        <a:cubicBezTo>
                          <a:pt x="319359" y="406940"/>
                          <a:pt x="323101" y="412758"/>
                          <a:pt x="321820" y="418654"/>
                        </a:cubicBezTo>
                        <a:cubicBezTo>
                          <a:pt x="320355" y="426885"/>
                          <a:pt x="319562" y="435220"/>
                          <a:pt x="319447" y="443580"/>
                        </a:cubicBezTo>
                        <a:lnTo>
                          <a:pt x="323853" y="568364"/>
                        </a:lnTo>
                        <a:cubicBezTo>
                          <a:pt x="323966" y="571582"/>
                          <a:pt x="322657" y="574679"/>
                          <a:pt x="320273" y="576842"/>
                        </a:cubicBezTo>
                        <a:lnTo>
                          <a:pt x="244349" y="645702"/>
                        </a:lnTo>
                        <a:cubicBezTo>
                          <a:pt x="243927" y="646003"/>
                          <a:pt x="243521" y="646325"/>
                          <a:pt x="243131" y="646663"/>
                        </a:cubicBezTo>
                        <a:cubicBezTo>
                          <a:pt x="236526" y="652431"/>
                          <a:pt x="235848" y="662465"/>
                          <a:pt x="241618" y="669069"/>
                        </a:cubicBezTo>
                        <a:cubicBezTo>
                          <a:pt x="246802" y="675301"/>
                          <a:pt x="256435" y="678682"/>
                          <a:pt x="267973" y="669561"/>
                        </a:cubicBezTo>
                        <a:lnTo>
                          <a:pt x="354641" y="591764"/>
                        </a:lnTo>
                        <a:cubicBezTo>
                          <a:pt x="354986" y="591453"/>
                          <a:pt x="355352" y="591163"/>
                          <a:pt x="355734" y="590901"/>
                        </a:cubicBezTo>
                        <a:cubicBezTo>
                          <a:pt x="358338" y="589109"/>
                          <a:pt x="362461" y="585018"/>
                          <a:pt x="362461" y="581681"/>
                        </a:cubicBezTo>
                        <a:cubicBezTo>
                          <a:pt x="362461" y="577273"/>
                          <a:pt x="362536" y="506604"/>
                          <a:pt x="362536" y="506604"/>
                        </a:cubicBezTo>
                        <a:cubicBezTo>
                          <a:pt x="362538" y="504732"/>
                          <a:pt x="363020" y="502891"/>
                          <a:pt x="363939" y="501258"/>
                        </a:cubicBezTo>
                        <a:cubicBezTo>
                          <a:pt x="366897" y="496000"/>
                          <a:pt x="373557" y="494136"/>
                          <a:pt x="378815" y="497094"/>
                        </a:cubicBezTo>
                        <a:lnTo>
                          <a:pt x="448793" y="536456"/>
                        </a:lnTo>
                        <a:cubicBezTo>
                          <a:pt x="452223" y="538387"/>
                          <a:pt x="454350" y="542012"/>
                          <a:pt x="454362" y="545948"/>
                        </a:cubicBezTo>
                        <a:lnTo>
                          <a:pt x="454687" y="662088"/>
                        </a:lnTo>
                        <a:cubicBezTo>
                          <a:pt x="454648" y="662700"/>
                          <a:pt x="454648" y="663317"/>
                          <a:pt x="454688" y="663929"/>
                        </a:cubicBezTo>
                        <a:cubicBezTo>
                          <a:pt x="455201" y="671827"/>
                          <a:pt x="462019" y="677814"/>
                          <a:pt x="469916" y="677300"/>
                        </a:cubicBezTo>
                        <a:cubicBezTo>
                          <a:pt x="470353" y="677322"/>
                          <a:pt x="470790" y="677328"/>
                          <a:pt x="471227" y="677317"/>
                        </a:cubicBezTo>
                        <a:cubicBezTo>
                          <a:pt x="479498" y="677055"/>
                          <a:pt x="485989" y="670134"/>
                          <a:pt x="485726" y="661865"/>
                        </a:cubicBezTo>
                        <a:lnTo>
                          <a:pt x="485982" y="537929"/>
                        </a:lnTo>
                        <a:cubicBezTo>
                          <a:pt x="485566" y="523980"/>
                          <a:pt x="479149" y="516724"/>
                          <a:pt x="468924" y="509651"/>
                        </a:cubicBezTo>
                        <a:cubicBezTo>
                          <a:pt x="459605" y="503210"/>
                          <a:pt x="395479" y="458283"/>
                          <a:pt x="395479" y="458283"/>
                        </a:cubicBezTo>
                        <a:cubicBezTo>
                          <a:pt x="391665" y="455609"/>
                          <a:pt x="389964" y="450811"/>
                          <a:pt x="391244" y="446332"/>
                        </a:cubicBezTo>
                        <a:lnTo>
                          <a:pt x="400082" y="415424"/>
                        </a:lnTo>
                        <a:cubicBezTo>
                          <a:pt x="401422" y="410735"/>
                          <a:pt x="405708" y="407503"/>
                          <a:pt x="410585" y="407503"/>
                        </a:cubicBezTo>
                        <a:lnTo>
                          <a:pt x="489199" y="407503"/>
                        </a:lnTo>
                        <a:cubicBezTo>
                          <a:pt x="489358" y="407506"/>
                          <a:pt x="489517" y="407506"/>
                          <a:pt x="489677" y="407503"/>
                        </a:cubicBezTo>
                        <a:cubicBezTo>
                          <a:pt x="496891" y="407371"/>
                          <a:pt x="502633" y="401415"/>
                          <a:pt x="502500" y="394201"/>
                        </a:cubicBezTo>
                        <a:cubicBezTo>
                          <a:pt x="502369" y="386986"/>
                          <a:pt x="496413" y="381245"/>
                          <a:pt x="489199" y="381377"/>
                        </a:cubicBezTo>
                        <a:lnTo>
                          <a:pt x="424309" y="381377"/>
                        </a:lnTo>
                        <a:cubicBezTo>
                          <a:pt x="423295" y="381377"/>
                          <a:pt x="422285" y="381235"/>
                          <a:pt x="421309" y="380956"/>
                        </a:cubicBezTo>
                        <a:cubicBezTo>
                          <a:pt x="415508" y="379298"/>
                          <a:pt x="412149" y="373251"/>
                          <a:pt x="413807" y="367449"/>
                        </a:cubicBezTo>
                        <a:lnTo>
                          <a:pt x="426395" y="323409"/>
                        </a:lnTo>
                        <a:cubicBezTo>
                          <a:pt x="427429" y="319206"/>
                          <a:pt x="427473" y="314821"/>
                          <a:pt x="426524" y="310599"/>
                        </a:cubicBezTo>
                        <a:cubicBezTo>
                          <a:pt x="429927" y="311105"/>
                          <a:pt x="433362" y="311360"/>
                          <a:pt x="436802" y="311361"/>
                        </a:cubicBezTo>
                        <a:cubicBezTo>
                          <a:pt x="440757" y="311327"/>
                          <a:pt x="444702" y="310963"/>
                          <a:pt x="448597" y="310274"/>
                        </a:cubicBezTo>
                        <a:cubicBezTo>
                          <a:pt x="449419" y="316565"/>
                          <a:pt x="449042" y="322955"/>
                          <a:pt x="447486" y="329105"/>
                        </a:cubicBezTo>
                        <a:lnTo>
                          <a:pt x="438792" y="359528"/>
                        </a:lnTo>
                        <a:lnTo>
                          <a:pt x="489199" y="359528"/>
                        </a:lnTo>
                        <a:cubicBezTo>
                          <a:pt x="489368" y="359527"/>
                          <a:pt x="489538" y="359527"/>
                          <a:pt x="489708" y="359528"/>
                        </a:cubicBezTo>
                        <a:cubicBezTo>
                          <a:pt x="508989" y="359669"/>
                          <a:pt x="524506" y="375413"/>
                          <a:pt x="524365" y="394694"/>
                        </a:cubicBezTo>
                        <a:cubicBezTo>
                          <a:pt x="524224" y="413976"/>
                          <a:pt x="508480" y="429492"/>
                          <a:pt x="489199" y="429351"/>
                        </a:cubicBezTo>
                        <a:lnTo>
                          <a:pt x="418821" y="429351"/>
                        </a:lnTo>
                        <a:lnTo>
                          <a:pt x="414388" y="444855"/>
                        </a:lnTo>
                        <a:cubicBezTo>
                          <a:pt x="430822" y="456363"/>
                          <a:pt x="473853" y="486495"/>
                          <a:pt x="481352" y="491683"/>
                        </a:cubicBezTo>
                        <a:cubicBezTo>
                          <a:pt x="497527" y="501390"/>
                          <a:pt x="507539" y="518765"/>
                          <a:pt x="507825" y="537628"/>
                        </a:cubicBezTo>
                        <a:lnTo>
                          <a:pt x="507574" y="661886"/>
                        </a:lnTo>
                        <a:cubicBezTo>
                          <a:pt x="507582" y="662394"/>
                          <a:pt x="507580" y="662897"/>
                          <a:pt x="507566" y="663405"/>
                        </a:cubicBezTo>
                        <a:cubicBezTo>
                          <a:pt x="507039" y="683675"/>
                          <a:pt x="490183" y="699673"/>
                          <a:pt x="469916" y="699149"/>
                        </a:cubicBezTo>
                        <a:cubicBezTo>
                          <a:pt x="469121" y="699176"/>
                          <a:pt x="468325" y="699176"/>
                          <a:pt x="467530" y="699149"/>
                        </a:cubicBezTo>
                        <a:cubicBezTo>
                          <a:pt x="447724" y="698504"/>
                          <a:pt x="432192" y="681921"/>
                          <a:pt x="432839" y="662116"/>
                        </a:cubicBezTo>
                        <a:lnTo>
                          <a:pt x="432529" y="552377"/>
                        </a:lnTo>
                        <a:lnTo>
                          <a:pt x="384362" y="525282"/>
                        </a:lnTo>
                        <a:cubicBezTo>
                          <a:pt x="384341" y="546543"/>
                          <a:pt x="384309" y="578748"/>
                          <a:pt x="384309" y="581681"/>
                        </a:cubicBezTo>
                        <a:cubicBezTo>
                          <a:pt x="383554" y="592529"/>
                          <a:pt x="377813" y="602415"/>
                          <a:pt x="368766" y="608451"/>
                        </a:cubicBezTo>
                        <a:lnTo>
                          <a:pt x="282333" y="686029"/>
                        </a:lnTo>
                        <a:cubicBezTo>
                          <a:pt x="282183" y="686165"/>
                          <a:pt x="282034" y="686291"/>
                          <a:pt x="281879" y="686417"/>
                        </a:cubicBezTo>
                        <a:cubicBezTo>
                          <a:pt x="260516" y="703584"/>
                          <a:pt x="237009" y="697701"/>
                          <a:pt x="224815" y="683030"/>
                        </a:cubicBezTo>
                        <a:cubicBezTo>
                          <a:pt x="224653" y="682839"/>
                          <a:pt x="224493" y="682648"/>
                          <a:pt x="224335" y="682451"/>
                        </a:cubicBezTo>
                        <a:cubicBezTo>
                          <a:pt x="211198" y="666245"/>
                          <a:pt x="213684" y="642463"/>
                          <a:pt x="229888" y="629327"/>
                        </a:cubicBezTo>
                        <a:lnTo>
                          <a:pt x="301839" y="564066"/>
                        </a:lnTo>
                        <a:lnTo>
                          <a:pt x="297721" y="447375"/>
                        </a:lnTo>
                        <a:lnTo>
                          <a:pt x="129951" y="632216"/>
                        </a:lnTo>
                        <a:cubicBezTo>
                          <a:pt x="125342" y="626476"/>
                          <a:pt x="119626" y="621718"/>
                          <a:pt x="113143" y="618228"/>
                        </a:cubicBezTo>
                        <a:lnTo>
                          <a:pt x="197846" y="524911"/>
                        </a:lnTo>
                        <a:lnTo>
                          <a:pt x="139412" y="471917"/>
                        </a:lnTo>
                        <a:cubicBezTo>
                          <a:pt x="136257" y="469111"/>
                          <a:pt x="131129" y="471651"/>
                          <a:pt x="128775" y="474245"/>
                        </a:cubicBezTo>
                        <a:lnTo>
                          <a:pt x="24579" y="588935"/>
                        </a:lnTo>
                        <a:cubicBezTo>
                          <a:pt x="22796" y="590792"/>
                          <a:pt x="21819" y="593282"/>
                          <a:pt x="21859" y="595855"/>
                        </a:cubicBezTo>
                        <a:cubicBezTo>
                          <a:pt x="21877" y="597215"/>
                          <a:pt x="22438" y="598510"/>
                          <a:pt x="23416" y="599455"/>
                        </a:cubicBezTo>
                        <a:lnTo>
                          <a:pt x="51976" y="624875"/>
                        </a:lnTo>
                        <a:cubicBezTo>
                          <a:pt x="46374" y="629665"/>
                          <a:pt x="41795" y="635543"/>
                          <a:pt x="38513" y="642146"/>
                        </a:cubicBezTo>
                        <a:lnTo>
                          <a:pt x="8870" y="615759"/>
                        </a:lnTo>
                        <a:cubicBezTo>
                          <a:pt x="3522" y="610941"/>
                          <a:pt x="339" y="604174"/>
                          <a:pt x="37" y="596980"/>
                        </a:cubicBezTo>
                        <a:cubicBezTo>
                          <a:pt x="-290" y="588591"/>
                          <a:pt x="2721" y="580414"/>
                          <a:pt x="8412" y="574242"/>
                        </a:cubicBezTo>
                        <a:lnTo>
                          <a:pt x="112597" y="459563"/>
                        </a:lnTo>
                        <a:cubicBezTo>
                          <a:pt x="118531" y="452884"/>
                          <a:pt x="127005" y="449014"/>
                          <a:pt x="135939" y="448903"/>
                        </a:cubicBezTo>
                        <a:cubicBezTo>
                          <a:pt x="142596" y="448859"/>
                          <a:pt x="149036" y="451271"/>
                          <a:pt x="154026" y="455678"/>
                        </a:cubicBezTo>
                        <a:lnTo>
                          <a:pt x="212531" y="508733"/>
                        </a:lnTo>
                        <a:lnTo>
                          <a:pt x="236214" y="482636"/>
                        </a:lnTo>
                        <a:cubicBezTo>
                          <a:pt x="231840" y="479236"/>
                          <a:pt x="227711" y="475934"/>
                          <a:pt x="226554" y="474936"/>
                        </a:cubicBezTo>
                        <a:cubicBezTo>
                          <a:pt x="226450" y="474847"/>
                          <a:pt x="226346" y="474757"/>
                          <a:pt x="226243" y="474667"/>
                        </a:cubicBezTo>
                        <a:cubicBezTo>
                          <a:pt x="211808" y="462019"/>
                          <a:pt x="210359" y="440064"/>
                          <a:pt x="223007" y="425628"/>
                        </a:cubicBezTo>
                        <a:lnTo>
                          <a:pt x="349803" y="280805"/>
                        </a:lnTo>
                        <a:cubicBezTo>
                          <a:pt x="351608" y="278761"/>
                          <a:pt x="353653" y="276944"/>
                          <a:pt x="355895" y="275391"/>
                        </a:cubicBezTo>
                        <a:cubicBezTo>
                          <a:pt x="360525" y="271799"/>
                          <a:pt x="365661" y="268912"/>
                          <a:pt x="371137" y="266824"/>
                        </a:cubicBezTo>
                        <a:close/>
                        <a:moveTo>
                          <a:pt x="655451" y="223946"/>
                        </a:moveTo>
                        <a:lnTo>
                          <a:pt x="655451" y="256718"/>
                        </a:lnTo>
                        <a:lnTo>
                          <a:pt x="677299" y="256718"/>
                        </a:lnTo>
                        <a:lnTo>
                          <a:pt x="677299" y="223946"/>
                        </a:lnTo>
                        <a:close/>
                        <a:moveTo>
                          <a:pt x="431244" y="213627"/>
                        </a:moveTo>
                        <a:cubicBezTo>
                          <a:pt x="416519" y="216800"/>
                          <a:pt x="407136" y="231286"/>
                          <a:pt x="410260" y="246021"/>
                        </a:cubicBezTo>
                        <a:lnTo>
                          <a:pt x="410260" y="246027"/>
                        </a:lnTo>
                        <a:cubicBezTo>
                          <a:pt x="411746" y="253118"/>
                          <a:pt x="416011" y="259319"/>
                          <a:pt x="422102" y="263242"/>
                        </a:cubicBezTo>
                        <a:cubicBezTo>
                          <a:pt x="428181" y="267182"/>
                          <a:pt x="435577" y="268545"/>
                          <a:pt x="442661" y="267031"/>
                        </a:cubicBezTo>
                        <a:cubicBezTo>
                          <a:pt x="457408" y="263878"/>
                          <a:pt x="466807" y="249368"/>
                          <a:pt x="463655" y="234621"/>
                        </a:cubicBezTo>
                        <a:cubicBezTo>
                          <a:pt x="460502" y="219874"/>
                          <a:pt x="445991" y="210475"/>
                          <a:pt x="431245" y="213627"/>
                        </a:cubicBezTo>
                        <a:close/>
                        <a:moveTo>
                          <a:pt x="437122" y="191169"/>
                        </a:moveTo>
                        <a:cubicBezTo>
                          <a:pt x="464276" y="191246"/>
                          <a:pt x="486226" y="213320"/>
                          <a:pt x="486150" y="240474"/>
                        </a:cubicBezTo>
                        <a:cubicBezTo>
                          <a:pt x="486074" y="267628"/>
                          <a:pt x="463999" y="289578"/>
                          <a:pt x="436845" y="289502"/>
                        </a:cubicBezTo>
                        <a:cubicBezTo>
                          <a:pt x="427387" y="289497"/>
                          <a:pt x="418133" y="286742"/>
                          <a:pt x="410212" y="281573"/>
                        </a:cubicBezTo>
                        <a:cubicBezTo>
                          <a:pt x="399245" y="274504"/>
                          <a:pt x="391566" y="263337"/>
                          <a:pt x="388892" y="250566"/>
                        </a:cubicBezTo>
                        <a:lnTo>
                          <a:pt x="388892" y="250561"/>
                        </a:lnTo>
                        <a:cubicBezTo>
                          <a:pt x="388168" y="247154"/>
                          <a:pt x="387807" y="243680"/>
                          <a:pt x="387817" y="240198"/>
                        </a:cubicBezTo>
                        <a:cubicBezTo>
                          <a:pt x="387894" y="213043"/>
                          <a:pt x="409968" y="191093"/>
                          <a:pt x="437122" y="191169"/>
                        </a:cubicBezTo>
                        <a:close/>
                        <a:moveTo>
                          <a:pt x="229408" y="185712"/>
                        </a:moveTo>
                        <a:lnTo>
                          <a:pt x="284029" y="185712"/>
                        </a:lnTo>
                        <a:cubicBezTo>
                          <a:pt x="290063" y="185712"/>
                          <a:pt x="294953" y="190603"/>
                          <a:pt x="294953" y="196636"/>
                        </a:cubicBezTo>
                        <a:cubicBezTo>
                          <a:pt x="294953" y="202670"/>
                          <a:pt x="290063" y="207560"/>
                          <a:pt x="284029" y="207560"/>
                        </a:cubicBezTo>
                        <a:lnTo>
                          <a:pt x="229408" y="207560"/>
                        </a:lnTo>
                        <a:cubicBezTo>
                          <a:pt x="223375" y="207560"/>
                          <a:pt x="218484" y="202670"/>
                          <a:pt x="218484" y="196636"/>
                        </a:cubicBezTo>
                        <a:cubicBezTo>
                          <a:pt x="218484" y="190603"/>
                          <a:pt x="223375" y="185712"/>
                          <a:pt x="229408" y="185712"/>
                        </a:cubicBezTo>
                        <a:close/>
                        <a:moveTo>
                          <a:pt x="410142" y="76469"/>
                        </a:moveTo>
                        <a:cubicBezTo>
                          <a:pt x="403664" y="76666"/>
                          <a:pt x="398563" y="82064"/>
                          <a:pt x="398733" y="88543"/>
                        </a:cubicBezTo>
                        <a:lnTo>
                          <a:pt x="398733" y="151790"/>
                        </a:lnTo>
                        <a:cubicBezTo>
                          <a:pt x="398563" y="158269"/>
                          <a:pt x="403664" y="163666"/>
                          <a:pt x="410142" y="163863"/>
                        </a:cubicBezTo>
                        <a:lnTo>
                          <a:pt x="595100" y="163863"/>
                        </a:lnTo>
                        <a:cubicBezTo>
                          <a:pt x="595280" y="163690"/>
                          <a:pt x="595378" y="163448"/>
                          <a:pt x="595367" y="163199"/>
                        </a:cubicBezTo>
                        <a:lnTo>
                          <a:pt x="595488" y="163057"/>
                        </a:lnTo>
                        <a:lnTo>
                          <a:pt x="478301" y="77518"/>
                        </a:lnTo>
                        <a:cubicBezTo>
                          <a:pt x="477366" y="76835"/>
                          <a:pt x="476237" y="76468"/>
                          <a:pt x="475079" y="76469"/>
                        </a:cubicBezTo>
                        <a:close/>
                        <a:moveTo>
                          <a:pt x="410142" y="54621"/>
                        </a:moveTo>
                        <a:lnTo>
                          <a:pt x="475079" y="54621"/>
                        </a:lnTo>
                        <a:cubicBezTo>
                          <a:pt x="480867" y="54610"/>
                          <a:pt x="486507" y="56448"/>
                          <a:pt x="491177" y="59867"/>
                        </a:cubicBezTo>
                        <a:lnTo>
                          <a:pt x="608842" y="145762"/>
                        </a:lnTo>
                        <a:cubicBezTo>
                          <a:pt x="609126" y="145966"/>
                          <a:pt x="609400" y="146186"/>
                          <a:pt x="609662" y="146420"/>
                        </a:cubicBezTo>
                        <a:cubicBezTo>
                          <a:pt x="616702" y="152651"/>
                          <a:pt x="619117" y="162608"/>
                          <a:pt x="615714" y="171371"/>
                        </a:cubicBezTo>
                        <a:cubicBezTo>
                          <a:pt x="612524" y="179995"/>
                          <a:pt x="604298" y="185717"/>
                          <a:pt x="595100" y="185711"/>
                        </a:cubicBezTo>
                        <a:lnTo>
                          <a:pt x="482180" y="185711"/>
                        </a:lnTo>
                        <a:cubicBezTo>
                          <a:pt x="457541" y="165133"/>
                          <a:pt x="422115" y="163789"/>
                          <a:pt x="395987" y="182440"/>
                        </a:cubicBezTo>
                        <a:cubicBezTo>
                          <a:pt x="384268" y="176732"/>
                          <a:pt x="376847" y="164824"/>
                          <a:pt x="376884" y="151790"/>
                        </a:cubicBezTo>
                        <a:lnTo>
                          <a:pt x="376884" y="88543"/>
                        </a:lnTo>
                        <a:cubicBezTo>
                          <a:pt x="376724" y="70001"/>
                          <a:pt x="391601" y="54828"/>
                          <a:pt x="410142" y="54621"/>
                        </a:cubicBezTo>
                        <a:close/>
                        <a:moveTo>
                          <a:pt x="207560" y="54621"/>
                        </a:moveTo>
                        <a:lnTo>
                          <a:pt x="305877" y="54621"/>
                        </a:lnTo>
                        <a:cubicBezTo>
                          <a:pt x="323969" y="54641"/>
                          <a:pt x="338630" y="69302"/>
                          <a:pt x="338650" y="87394"/>
                        </a:cubicBezTo>
                        <a:lnTo>
                          <a:pt x="338650" y="261242"/>
                        </a:lnTo>
                        <a:cubicBezTo>
                          <a:pt x="336768" y="262838"/>
                          <a:pt x="335001" y="264566"/>
                          <a:pt x="333364" y="266413"/>
                        </a:cubicBezTo>
                        <a:lnTo>
                          <a:pt x="316801" y="285331"/>
                        </a:lnTo>
                        <a:lnTo>
                          <a:pt x="316801" y="87394"/>
                        </a:lnTo>
                        <a:cubicBezTo>
                          <a:pt x="316794" y="81363"/>
                          <a:pt x="311907" y="76476"/>
                          <a:pt x="305877" y="76469"/>
                        </a:cubicBezTo>
                        <a:lnTo>
                          <a:pt x="207560" y="76469"/>
                        </a:lnTo>
                        <a:cubicBezTo>
                          <a:pt x="201529" y="76476"/>
                          <a:pt x="196642" y="81363"/>
                          <a:pt x="196635" y="87394"/>
                        </a:cubicBezTo>
                        <a:lnTo>
                          <a:pt x="196635" y="305877"/>
                        </a:lnTo>
                        <a:lnTo>
                          <a:pt x="298812" y="305877"/>
                        </a:lnTo>
                        <a:lnTo>
                          <a:pt x="279684" y="327726"/>
                        </a:lnTo>
                        <a:lnTo>
                          <a:pt x="10924" y="327726"/>
                        </a:lnTo>
                        <a:cubicBezTo>
                          <a:pt x="4891" y="327726"/>
                          <a:pt x="0" y="322835"/>
                          <a:pt x="0" y="316802"/>
                        </a:cubicBezTo>
                        <a:cubicBezTo>
                          <a:pt x="0" y="310768"/>
                          <a:pt x="4891" y="305877"/>
                          <a:pt x="10924" y="305877"/>
                        </a:cubicBezTo>
                        <a:lnTo>
                          <a:pt x="174787" y="305877"/>
                        </a:lnTo>
                        <a:lnTo>
                          <a:pt x="174787" y="87394"/>
                        </a:lnTo>
                        <a:cubicBezTo>
                          <a:pt x="174807" y="69302"/>
                          <a:pt x="189468" y="54641"/>
                          <a:pt x="207560" y="54621"/>
                        </a:cubicBezTo>
                        <a:close/>
                        <a:moveTo>
                          <a:pt x="10924" y="54621"/>
                        </a:moveTo>
                        <a:lnTo>
                          <a:pt x="120166" y="54621"/>
                        </a:lnTo>
                        <a:cubicBezTo>
                          <a:pt x="138258" y="54641"/>
                          <a:pt x="152919" y="69302"/>
                          <a:pt x="152939" y="87394"/>
                        </a:cubicBezTo>
                        <a:lnTo>
                          <a:pt x="152939" y="196635"/>
                        </a:lnTo>
                        <a:cubicBezTo>
                          <a:pt x="152919" y="214727"/>
                          <a:pt x="138258" y="229388"/>
                          <a:pt x="120166" y="229408"/>
                        </a:cubicBezTo>
                        <a:lnTo>
                          <a:pt x="10924" y="229408"/>
                        </a:lnTo>
                        <a:cubicBezTo>
                          <a:pt x="4891" y="229408"/>
                          <a:pt x="0" y="224517"/>
                          <a:pt x="0" y="218484"/>
                        </a:cubicBezTo>
                        <a:cubicBezTo>
                          <a:pt x="0" y="212450"/>
                          <a:pt x="4891" y="207560"/>
                          <a:pt x="10924" y="207560"/>
                        </a:cubicBezTo>
                        <a:lnTo>
                          <a:pt x="120166" y="207560"/>
                        </a:lnTo>
                        <a:cubicBezTo>
                          <a:pt x="126196" y="207553"/>
                          <a:pt x="131083" y="202666"/>
                          <a:pt x="131090" y="196635"/>
                        </a:cubicBezTo>
                        <a:lnTo>
                          <a:pt x="131090" y="87394"/>
                        </a:lnTo>
                        <a:cubicBezTo>
                          <a:pt x="131083" y="81363"/>
                          <a:pt x="126196" y="76476"/>
                          <a:pt x="120166" y="76469"/>
                        </a:cubicBezTo>
                        <a:lnTo>
                          <a:pt x="10924" y="76469"/>
                        </a:lnTo>
                        <a:cubicBezTo>
                          <a:pt x="4891" y="76469"/>
                          <a:pt x="0" y="71579"/>
                          <a:pt x="0" y="65545"/>
                        </a:cubicBezTo>
                        <a:cubicBezTo>
                          <a:pt x="0" y="59512"/>
                          <a:pt x="4891" y="54621"/>
                          <a:pt x="10924" y="54621"/>
                        </a:cubicBezTo>
                        <a:close/>
                        <a:moveTo>
                          <a:pt x="10924" y="0"/>
                        </a:moveTo>
                        <a:lnTo>
                          <a:pt x="471825" y="0"/>
                        </a:lnTo>
                        <a:cubicBezTo>
                          <a:pt x="505645" y="37"/>
                          <a:pt x="538430" y="11661"/>
                          <a:pt x="564720" y="32935"/>
                        </a:cubicBezTo>
                        <a:lnTo>
                          <a:pt x="678932" y="125559"/>
                        </a:lnTo>
                        <a:cubicBezTo>
                          <a:pt x="691746" y="135908"/>
                          <a:pt x="699180" y="151508"/>
                          <a:pt x="699147" y="167981"/>
                        </a:cubicBezTo>
                        <a:lnTo>
                          <a:pt x="699147" y="273105"/>
                        </a:lnTo>
                        <a:cubicBezTo>
                          <a:pt x="699115" y="303257"/>
                          <a:pt x="674677" y="327691"/>
                          <a:pt x="644527" y="327726"/>
                        </a:cubicBezTo>
                        <a:lnTo>
                          <a:pt x="469973" y="327726"/>
                        </a:lnTo>
                        <a:cubicBezTo>
                          <a:pt x="471082" y="320485"/>
                          <a:pt x="471081" y="313118"/>
                          <a:pt x="469971" y="305877"/>
                        </a:cubicBezTo>
                        <a:lnTo>
                          <a:pt x="644527" y="305877"/>
                        </a:lnTo>
                        <a:cubicBezTo>
                          <a:pt x="660503" y="305850"/>
                          <a:pt x="674137" y="294317"/>
                          <a:pt x="676808" y="278567"/>
                        </a:cubicBezTo>
                        <a:lnTo>
                          <a:pt x="655451" y="278567"/>
                        </a:lnTo>
                        <a:cubicBezTo>
                          <a:pt x="643390" y="278554"/>
                          <a:pt x="633613" y="268780"/>
                          <a:pt x="633602" y="256718"/>
                        </a:cubicBezTo>
                        <a:lnTo>
                          <a:pt x="633602" y="223946"/>
                        </a:lnTo>
                        <a:cubicBezTo>
                          <a:pt x="633613" y="211884"/>
                          <a:pt x="643390" y="202111"/>
                          <a:pt x="655451" y="202097"/>
                        </a:cubicBezTo>
                        <a:lnTo>
                          <a:pt x="677299" y="202097"/>
                        </a:lnTo>
                        <a:lnTo>
                          <a:pt x="677299" y="167981"/>
                        </a:lnTo>
                        <a:cubicBezTo>
                          <a:pt x="677321" y="158097"/>
                          <a:pt x="672858" y="148737"/>
                          <a:pt x="665168" y="142527"/>
                        </a:cubicBezTo>
                        <a:lnTo>
                          <a:pt x="550955" y="49903"/>
                        </a:lnTo>
                        <a:cubicBezTo>
                          <a:pt x="528562" y="31781"/>
                          <a:pt x="500634" y="21879"/>
                          <a:pt x="471825" y="21848"/>
                        </a:cubicBezTo>
                        <a:lnTo>
                          <a:pt x="10924" y="21848"/>
                        </a:lnTo>
                        <a:cubicBezTo>
                          <a:pt x="4891" y="21848"/>
                          <a:pt x="0" y="16957"/>
                          <a:pt x="0" y="10924"/>
                        </a:cubicBezTo>
                        <a:cubicBezTo>
                          <a:pt x="0" y="4891"/>
                          <a:pt x="4891" y="0"/>
                          <a:pt x="10924" y="0"/>
                        </a:cubicBezTo>
                        <a:close/>
                      </a:path>
                    </a:pathLst>
                  </a:custGeom>
                  <a:solidFill>
                    <a:srgbClr val="23417E"/>
                  </a:solidFill>
                  <a:ln w="543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grpSp>
            <p:nvGrpSpPr>
              <p:cNvPr id="141" name="Group 140">
                <a:extLst>
                  <a:ext uri="{FF2B5EF4-FFF2-40B4-BE49-F238E27FC236}">
                    <a16:creationId xmlns:a16="http://schemas.microsoft.com/office/drawing/2014/main" id="{998101CF-4FD4-AF08-BF21-E19172D72096}"/>
                  </a:ext>
                </a:extLst>
              </p:cNvPr>
              <p:cNvGrpSpPr/>
              <p:nvPr/>
            </p:nvGrpSpPr>
            <p:grpSpPr>
              <a:xfrm rot="10800000">
                <a:off x="5731620" y="1085397"/>
                <a:ext cx="391886" cy="1097280"/>
                <a:chOff x="2284639" y="-1133929"/>
                <a:chExt cx="391886" cy="914400"/>
              </a:xfrm>
            </p:grpSpPr>
            <p:cxnSp>
              <p:nvCxnSpPr>
                <p:cNvPr id="135" name="Straight Connector 134">
                  <a:extLst>
                    <a:ext uri="{FF2B5EF4-FFF2-40B4-BE49-F238E27FC236}">
                      <a16:creationId xmlns:a16="http://schemas.microsoft.com/office/drawing/2014/main" id="{6FB83224-BAB4-6AF8-D70B-F240836BDD26}"/>
                    </a:ext>
                  </a:extLst>
                </p:cNvPr>
                <p:cNvCxnSpPr>
                  <a:cxnSpLocks/>
                </p:cNvCxnSpPr>
                <p:nvPr/>
              </p:nvCxnSpPr>
              <p:spPr>
                <a:xfrm>
                  <a:off x="2284639" y="-1133929"/>
                  <a:ext cx="0" cy="914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81B6F2A-5CBF-BC0F-8929-C3289B431F4F}"/>
                    </a:ext>
                  </a:extLst>
                </p:cNvPr>
                <p:cNvCxnSpPr>
                  <a:cxnSpLocks/>
                </p:cNvCxnSpPr>
                <p:nvPr/>
              </p:nvCxnSpPr>
              <p:spPr>
                <a:xfrm>
                  <a:off x="2284639" y="-676729"/>
                  <a:ext cx="391886" cy="0"/>
                </a:xfrm>
                <a:prstGeom prst="line">
                  <a:avLst/>
                </a:prstGeom>
                <a:ln>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grpSp>
      <p:grpSp>
        <p:nvGrpSpPr>
          <p:cNvPr id="31" name="Group 30">
            <a:extLst>
              <a:ext uri="{FF2B5EF4-FFF2-40B4-BE49-F238E27FC236}">
                <a16:creationId xmlns:a16="http://schemas.microsoft.com/office/drawing/2014/main" id="{87826BB5-45BA-61D2-1468-77BB8F3A7D11}"/>
              </a:ext>
            </a:extLst>
          </p:cNvPr>
          <p:cNvGrpSpPr/>
          <p:nvPr/>
        </p:nvGrpSpPr>
        <p:grpSpPr>
          <a:xfrm>
            <a:off x="4994234" y="2934581"/>
            <a:ext cx="6671261" cy="1188720"/>
            <a:chOff x="4994234" y="2370067"/>
            <a:chExt cx="6671261" cy="1188720"/>
          </a:xfrm>
        </p:grpSpPr>
        <p:sp>
          <p:nvSpPr>
            <p:cNvPr id="44" name="Textbox">
              <a:extLst>
                <a:ext uri="{FF2B5EF4-FFF2-40B4-BE49-F238E27FC236}">
                  <a16:creationId xmlns:a16="http://schemas.microsoft.com/office/drawing/2014/main" id="{50FF9024-D0FB-F95E-7311-9FC43BEDCED2}"/>
                </a:ext>
              </a:extLst>
            </p:cNvPr>
            <p:cNvSpPr txBox="1">
              <a:spLocks/>
            </p:cNvSpPr>
            <p:nvPr/>
          </p:nvSpPr>
          <p:spPr>
            <a:xfrm>
              <a:off x="6419850" y="2370067"/>
              <a:ext cx="5245645" cy="118872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200" b="0"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The Central Valley Service almost </a:t>
              </a:r>
              <a:r>
                <a:rPr kumimoji="0" lang="en-US" sz="3600" b="1"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doubles</a:t>
              </a:r>
              <a:r>
                <a:rPr kumimoji="0" lang="en-US" sz="2200" b="0"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 existing ridership</a:t>
              </a:r>
            </a:p>
          </p:txBody>
        </p:sp>
        <p:grpSp>
          <p:nvGrpSpPr>
            <p:cNvPr id="28" name="Group 27">
              <a:extLst>
                <a:ext uri="{FF2B5EF4-FFF2-40B4-BE49-F238E27FC236}">
                  <a16:creationId xmlns:a16="http://schemas.microsoft.com/office/drawing/2014/main" id="{07BCDCB7-FA4B-38A6-3D02-79DB61AE2D2A}"/>
                </a:ext>
              </a:extLst>
            </p:cNvPr>
            <p:cNvGrpSpPr/>
            <p:nvPr/>
          </p:nvGrpSpPr>
          <p:grpSpPr>
            <a:xfrm>
              <a:off x="4994234" y="2415787"/>
              <a:ext cx="1129272" cy="1097280"/>
              <a:chOff x="4994234" y="2370067"/>
              <a:chExt cx="1129272" cy="1097280"/>
            </a:xfrm>
          </p:grpSpPr>
          <p:grpSp>
            <p:nvGrpSpPr>
              <p:cNvPr id="106" name="Group 105">
                <a:extLst>
                  <a:ext uri="{FF2B5EF4-FFF2-40B4-BE49-F238E27FC236}">
                    <a16:creationId xmlns:a16="http://schemas.microsoft.com/office/drawing/2014/main" id="{08171AD6-9843-8108-2452-95F21976414F}"/>
                  </a:ext>
                </a:extLst>
              </p:cNvPr>
              <p:cNvGrpSpPr/>
              <p:nvPr/>
            </p:nvGrpSpPr>
            <p:grpSpPr>
              <a:xfrm>
                <a:off x="4994234" y="2552947"/>
                <a:ext cx="731520" cy="731520"/>
                <a:chOff x="5305004" y="3176266"/>
                <a:chExt cx="731520" cy="731520"/>
              </a:xfrm>
            </p:grpSpPr>
            <p:grpSp>
              <p:nvGrpSpPr>
                <p:cNvPr id="93" name="Group 92" descr="Image of mechanical arm bending to represent state of the art practices ">
                  <a:extLst>
                    <a:ext uri="{FF2B5EF4-FFF2-40B4-BE49-F238E27FC236}">
                      <a16:creationId xmlns:a16="http://schemas.microsoft.com/office/drawing/2014/main" id="{0D12C15D-4082-A5EA-056F-FEA4426047ED}"/>
                    </a:ext>
                  </a:extLst>
                </p:cNvPr>
                <p:cNvGrpSpPr/>
                <p:nvPr/>
              </p:nvGrpSpPr>
              <p:grpSpPr>
                <a:xfrm>
                  <a:off x="5305004" y="3176266"/>
                  <a:ext cx="731520" cy="731520"/>
                  <a:chOff x="641256" y="1416677"/>
                  <a:chExt cx="1299786" cy="1299786"/>
                </a:xfrm>
              </p:grpSpPr>
              <p:sp>
                <p:nvSpPr>
                  <p:cNvPr id="97" name="Oval 96">
                    <a:extLst>
                      <a:ext uri="{FF2B5EF4-FFF2-40B4-BE49-F238E27FC236}">
                        <a16:creationId xmlns:a16="http://schemas.microsoft.com/office/drawing/2014/main" id="{82FB8A37-E0D2-CEAA-9431-72CB3F086EED}"/>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98" name="Textplatzhalter 6">
                    <a:extLst>
                      <a:ext uri="{FF2B5EF4-FFF2-40B4-BE49-F238E27FC236}">
                        <a16:creationId xmlns:a16="http://schemas.microsoft.com/office/drawing/2014/main" id="{00894389-01E4-05B9-49D9-B97FD80112AA}"/>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77" name="easyIcon">
                  <a:extLst>
                    <a:ext uri="{FF2B5EF4-FFF2-40B4-BE49-F238E27FC236}">
                      <a16:creationId xmlns:a16="http://schemas.microsoft.com/office/drawing/2014/main" id="{1A5DA249-3F58-AC3C-486F-5927D0C7E93B}"/>
                    </a:ext>
                  </a:extLst>
                </p:cNvPr>
                <p:cNvGrpSpPr>
                  <a:grpSpLocks noChangeAspect="1"/>
                </p:cNvGrpSpPr>
                <p:nvPr>
                  <p:custDataLst>
                    <p:tags r:id="rId4"/>
                  </p:custDataLst>
                </p:nvPr>
              </p:nvGrpSpPr>
              <p:grpSpPr>
                <a:xfrm>
                  <a:off x="5442164" y="3276667"/>
                  <a:ext cx="457200" cy="457200"/>
                  <a:chOff x="10894274" y="1561782"/>
                  <a:chExt cx="714050" cy="714050"/>
                </a:xfrm>
              </p:grpSpPr>
              <p:sp>
                <p:nvSpPr>
                  <p:cNvPr id="78" name="Background">
                    <a:extLst>
                      <a:ext uri="{FF2B5EF4-FFF2-40B4-BE49-F238E27FC236}">
                        <a16:creationId xmlns:a16="http://schemas.microsoft.com/office/drawing/2014/main" id="{01689C83-2A90-8191-A58F-D19C29EB2054}"/>
                      </a:ext>
                    </a:extLst>
                  </p:cNvPr>
                  <p:cNvSpPr/>
                  <p:nvPr/>
                </p:nvSpPr>
                <p:spPr>
                  <a:xfrm>
                    <a:off x="10894274" y="1561782"/>
                    <a:ext cx="714050" cy="7140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81" name="Vector">
                    <a:extLst>
                      <a:ext uri="{FF2B5EF4-FFF2-40B4-BE49-F238E27FC236}">
                        <a16:creationId xmlns:a16="http://schemas.microsoft.com/office/drawing/2014/main" id="{65197E86-72FD-E6DA-13E5-93C6DF76F9E0}"/>
                      </a:ext>
                    </a:extLst>
                  </p:cNvPr>
                  <p:cNvSpPr>
                    <a:spLocks noChangeAspect="1"/>
                  </p:cNvSpPr>
                  <p:nvPr/>
                </p:nvSpPr>
                <p:spPr bwMode="gray">
                  <a:xfrm>
                    <a:off x="10963300" y="1630807"/>
                    <a:ext cx="575999" cy="576001"/>
                  </a:xfrm>
                  <a:custGeom>
                    <a:avLst/>
                    <a:gdLst>
                      <a:gd name="connsiteX0" fmla="*/ 139181 w 699147"/>
                      <a:gd name="connsiteY0" fmla="*/ 393491 h 699149"/>
                      <a:gd name="connsiteX1" fmla="*/ 123240 w 699147"/>
                      <a:gd name="connsiteY1" fmla="*/ 615934 h 699149"/>
                      <a:gd name="connsiteX2" fmla="*/ 156188 w 699147"/>
                      <a:gd name="connsiteY2" fmla="*/ 615934 h 699149"/>
                      <a:gd name="connsiteX3" fmla="*/ 180219 w 699147"/>
                      <a:gd name="connsiteY3" fmla="*/ 432449 h 699149"/>
                      <a:gd name="connsiteX4" fmla="*/ 180858 w 699147"/>
                      <a:gd name="connsiteY4" fmla="*/ 428357 h 699149"/>
                      <a:gd name="connsiteX5" fmla="*/ 183414 w 699147"/>
                      <a:gd name="connsiteY5" fmla="*/ 426310 h 699149"/>
                      <a:gd name="connsiteX6" fmla="*/ 186610 w 699147"/>
                      <a:gd name="connsiteY6" fmla="*/ 424264 h 699149"/>
                      <a:gd name="connsiteX7" fmla="*/ 189805 w 699147"/>
                      <a:gd name="connsiteY7" fmla="*/ 424264 h 699149"/>
                      <a:gd name="connsiteX8" fmla="*/ 193000 w 699147"/>
                      <a:gd name="connsiteY8" fmla="*/ 424946 h 699149"/>
                      <a:gd name="connsiteX9" fmla="*/ 195557 w 699147"/>
                      <a:gd name="connsiteY9" fmla="*/ 427675 h 699149"/>
                      <a:gd name="connsiteX10" fmla="*/ 197474 w 699147"/>
                      <a:gd name="connsiteY10" fmla="*/ 431085 h 699149"/>
                      <a:gd name="connsiteX11" fmla="*/ 197474 w 699147"/>
                      <a:gd name="connsiteY11" fmla="*/ 434495 h 699149"/>
                      <a:gd name="connsiteX12" fmla="*/ 173796 w 699147"/>
                      <a:gd name="connsiteY12" fmla="*/ 615934 h 699149"/>
                      <a:gd name="connsiteX13" fmla="*/ 226871 w 699147"/>
                      <a:gd name="connsiteY13" fmla="*/ 615934 h 699149"/>
                      <a:gd name="connsiteX14" fmla="*/ 226871 w 699147"/>
                      <a:gd name="connsiteY14" fmla="*/ 531354 h 699149"/>
                      <a:gd name="connsiteX15" fmla="*/ 228149 w 699147"/>
                      <a:gd name="connsiteY15" fmla="*/ 527943 h 699149"/>
                      <a:gd name="connsiteX16" fmla="*/ 230066 w 699147"/>
                      <a:gd name="connsiteY16" fmla="*/ 525215 h 699149"/>
                      <a:gd name="connsiteX17" fmla="*/ 232622 w 699147"/>
                      <a:gd name="connsiteY17" fmla="*/ 522487 h 699149"/>
                      <a:gd name="connsiteX18" fmla="*/ 235818 w 699147"/>
                      <a:gd name="connsiteY18" fmla="*/ 521804 h 699149"/>
                      <a:gd name="connsiteX19" fmla="*/ 278971 w 699147"/>
                      <a:gd name="connsiteY19" fmla="*/ 521804 h 699149"/>
                      <a:gd name="connsiteX20" fmla="*/ 286944 w 699147"/>
                      <a:gd name="connsiteY20" fmla="*/ 424264 h 699149"/>
                      <a:gd name="connsiteX21" fmla="*/ 181497 w 699147"/>
                      <a:gd name="connsiteY21" fmla="*/ 407212 h 699149"/>
                      <a:gd name="connsiteX22" fmla="*/ 169355 w 699147"/>
                      <a:gd name="connsiteY22" fmla="*/ 405166 h 699149"/>
                      <a:gd name="connsiteX23" fmla="*/ 157851 w 699147"/>
                      <a:gd name="connsiteY23" fmla="*/ 401073 h 699149"/>
                      <a:gd name="connsiteX24" fmla="*/ 146987 w 699147"/>
                      <a:gd name="connsiteY24" fmla="*/ 397663 h 699149"/>
                      <a:gd name="connsiteX25" fmla="*/ 139318 w 699147"/>
                      <a:gd name="connsiteY25" fmla="*/ 393570 h 699149"/>
                      <a:gd name="connsiteX26" fmla="*/ 463328 w 699147"/>
                      <a:gd name="connsiteY26" fmla="*/ 298759 h 699149"/>
                      <a:gd name="connsiteX27" fmla="*/ 466523 w 699147"/>
                      <a:gd name="connsiteY27" fmla="*/ 299441 h 699149"/>
                      <a:gd name="connsiteX28" fmla="*/ 469719 w 699147"/>
                      <a:gd name="connsiteY28" fmla="*/ 301487 h 699149"/>
                      <a:gd name="connsiteX29" fmla="*/ 470997 w 699147"/>
                      <a:gd name="connsiteY29" fmla="*/ 304898 h 699149"/>
                      <a:gd name="connsiteX30" fmla="*/ 472275 w 699147"/>
                      <a:gd name="connsiteY30" fmla="*/ 308308 h 699149"/>
                      <a:gd name="connsiteX31" fmla="*/ 472275 w 699147"/>
                      <a:gd name="connsiteY31" fmla="*/ 317176 h 699149"/>
                      <a:gd name="connsiteX32" fmla="*/ 470997 w 699147"/>
                      <a:gd name="connsiteY32" fmla="*/ 320586 h 699149"/>
                      <a:gd name="connsiteX33" fmla="*/ 469719 w 699147"/>
                      <a:gd name="connsiteY33" fmla="*/ 323997 h 699149"/>
                      <a:gd name="connsiteX34" fmla="*/ 466523 w 699147"/>
                      <a:gd name="connsiteY34" fmla="*/ 326043 h 699149"/>
                      <a:gd name="connsiteX35" fmla="*/ 463328 w 699147"/>
                      <a:gd name="connsiteY35" fmla="*/ 326725 h 699149"/>
                      <a:gd name="connsiteX36" fmla="*/ 459494 w 699147"/>
                      <a:gd name="connsiteY36" fmla="*/ 326043 h 699149"/>
                      <a:gd name="connsiteX37" fmla="*/ 457576 w 699147"/>
                      <a:gd name="connsiteY37" fmla="*/ 323997 h 699149"/>
                      <a:gd name="connsiteX38" fmla="*/ 455659 w 699147"/>
                      <a:gd name="connsiteY38" fmla="*/ 320586 h 699149"/>
                      <a:gd name="connsiteX39" fmla="*/ 455020 w 699147"/>
                      <a:gd name="connsiteY39" fmla="*/ 317176 h 699149"/>
                      <a:gd name="connsiteX40" fmla="*/ 455020 w 699147"/>
                      <a:gd name="connsiteY40" fmla="*/ 308308 h 699149"/>
                      <a:gd name="connsiteX41" fmla="*/ 455659 w 699147"/>
                      <a:gd name="connsiteY41" fmla="*/ 304898 h 699149"/>
                      <a:gd name="connsiteX42" fmla="*/ 457576 w 699147"/>
                      <a:gd name="connsiteY42" fmla="*/ 301487 h 699149"/>
                      <a:gd name="connsiteX43" fmla="*/ 459494 w 699147"/>
                      <a:gd name="connsiteY43" fmla="*/ 299441 h 699149"/>
                      <a:gd name="connsiteX44" fmla="*/ 602647 w 699147"/>
                      <a:gd name="connsiteY44" fmla="*/ 270793 h 699149"/>
                      <a:gd name="connsiteX45" fmla="*/ 606481 w 699147"/>
                      <a:gd name="connsiteY45" fmla="*/ 271475 h 699149"/>
                      <a:gd name="connsiteX46" fmla="*/ 609677 w 699147"/>
                      <a:gd name="connsiteY46" fmla="*/ 272839 h 699149"/>
                      <a:gd name="connsiteX47" fmla="*/ 610955 w 699147"/>
                      <a:gd name="connsiteY47" fmla="*/ 276932 h 699149"/>
                      <a:gd name="connsiteX48" fmla="*/ 612233 w 699147"/>
                      <a:gd name="connsiteY48" fmla="*/ 280342 h 699149"/>
                      <a:gd name="connsiteX49" fmla="*/ 612233 w 699147"/>
                      <a:gd name="connsiteY49" fmla="*/ 289210 h 699149"/>
                      <a:gd name="connsiteX50" fmla="*/ 610955 w 699147"/>
                      <a:gd name="connsiteY50" fmla="*/ 293302 h 699149"/>
                      <a:gd name="connsiteX51" fmla="*/ 609677 w 699147"/>
                      <a:gd name="connsiteY51" fmla="*/ 296031 h 699149"/>
                      <a:gd name="connsiteX52" fmla="*/ 606481 w 699147"/>
                      <a:gd name="connsiteY52" fmla="*/ 298077 h 699149"/>
                      <a:gd name="connsiteX53" fmla="*/ 602647 w 699147"/>
                      <a:gd name="connsiteY53" fmla="*/ 298759 h 699149"/>
                      <a:gd name="connsiteX54" fmla="*/ 599452 w 699147"/>
                      <a:gd name="connsiteY54" fmla="*/ 298077 h 699149"/>
                      <a:gd name="connsiteX55" fmla="*/ 596895 w 699147"/>
                      <a:gd name="connsiteY55" fmla="*/ 296031 h 699149"/>
                      <a:gd name="connsiteX56" fmla="*/ 595617 w 699147"/>
                      <a:gd name="connsiteY56" fmla="*/ 293302 h 699149"/>
                      <a:gd name="connsiteX57" fmla="*/ 594978 w 699147"/>
                      <a:gd name="connsiteY57" fmla="*/ 289210 h 699149"/>
                      <a:gd name="connsiteX58" fmla="*/ 594978 w 699147"/>
                      <a:gd name="connsiteY58" fmla="*/ 280342 h 699149"/>
                      <a:gd name="connsiteX59" fmla="*/ 595617 w 699147"/>
                      <a:gd name="connsiteY59" fmla="*/ 276932 h 699149"/>
                      <a:gd name="connsiteX60" fmla="*/ 596895 w 699147"/>
                      <a:gd name="connsiteY60" fmla="*/ 272839 h 699149"/>
                      <a:gd name="connsiteX61" fmla="*/ 599452 w 699147"/>
                      <a:gd name="connsiteY61" fmla="*/ 271475 h 699149"/>
                      <a:gd name="connsiteX62" fmla="*/ 463328 w 699147"/>
                      <a:gd name="connsiteY62" fmla="*/ 252376 h 699149"/>
                      <a:gd name="connsiteX63" fmla="*/ 466523 w 699147"/>
                      <a:gd name="connsiteY63" fmla="*/ 253058 h 699149"/>
                      <a:gd name="connsiteX64" fmla="*/ 469719 w 699147"/>
                      <a:gd name="connsiteY64" fmla="*/ 254422 h 699149"/>
                      <a:gd name="connsiteX65" fmla="*/ 470997 w 699147"/>
                      <a:gd name="connsiteY65" fmla="*/ 257151 h 699149"/>
                      <a:gd name="connsiteX66" fmla="*/ 472275 w 699147"/>
                      <a:gd name="connsiteY66" fmla="*/ 261925 h 699149"/>
                      <a:gd name="connsiteX67" fmla="*/ 472275 w 699147"/>
                      <a:gd name="connsiteY67" fmla="*/ 270793 h 699149"/>
                      <a:gd name="connsiteX68" fmla="*/ 470997 w 699147"/>
                      <a:gd name="connsiteY68" fmla="*/ 274203 h 699149"/>
                      <a:gd name="connsiteX69" fmla="*/ 469719 w 699147"/>
                      <a:gd name="connsiteY69" fmla="*/ 277614 h 699149"/>
                      <a:gd name="connsiteX70" fmla="*/ 466523 w 699147"/>
                      <a:gd name="connsiteY70" fmla="*/ 278978 h 699149"/>
                      <a:gd name="connsiteX71" fmla="*/ 463328 w 699147"/>
                      <a:gd name="connsiteY71" fmla="*/ 280342 h 699149"/>
                      <a:gd name="connsiteX72" fmla="*/ 459494 w 699147"/>
                      <a:gd name="connsiteY72" fmla="*/ 278978 h 699149"/>
                      <a:gd name="connsiteX73" fmla="*/ 457576 w 699147"/>
                      <a:gd name="connsiteY73" fmla="*/ 277614 h 699149"/>
                      <a:gd name="connsiteX74" fmla="*/ 455659 w 699147"/>
                      <a:gd name="connsiteY74" fmla="*/ 274203 h 699149"/>
                      <a:gd name="connsiteX75" fmla="*/ 455020 w 699147"/>
                      <a:gd name="connsiteY75" fmla="*/ 270793 h 699149"/>
                      <a:gd name="connsiteX76" fmla="*/ 455020 w 699147"/>
                      <a:gd name="connsiteY76" fmla="*/ 261925 h 699149"/>
                      <a:gd name="connsiteX77" fmla="*/ 455659 w 699147"/>
                      <a:gd name="connsiteY77" fmla="*/ 257151 h 699149"/>
                      <a:gd name="connsiteX78" fmla="*/ 457576 w 699147"/>
                      <a:gd name="connsiteY78" fmla="*/ 254422 h 699149"/>
                      <a:gd name="connsiteX79" fmla="*/ 459494 w 699147"/>
                      <a:gd name="connsiteY79" fmla="*/ 253058 h 699149"/>
                      <a:gd name="connsiteX80" fmla="*/ 602647 w 699147"/>
                      <a:gd name="connsiteY80" fmla="*/ 223728 h 699149"/>
                      <a:gd name="connsiteX81" fmla="*/ 606481 w 699147"/>
                      <a:gd name="connsiteY81" fmla="*/ 225092 h 699149"/>
                      <a:gd name="connsiteX82" fmla="*/ 609677 w 699147"/>
                      <a:gd name="connsiteY82" fmla="*/ 226456 h 699149"/>
                      <a:gd name="connsiteX83" fmla="*/ 610955 w 699147"/>
                      <a:gd name="connsiteY83" fmla="*/ 229867 h 699149"/>
                      <a:gd name="connsiteX84" fmla="*/ 612233 w 699147"/>
                      <a:gd name="connsiteY84" fmla="*/ 233959 h 699149"/>
                      <a:gd name="connsiteX85" fmla="*/ 612233 w 699147"/>
                      <a:gd name="connsiteY85" fmla="*/ 242145 h 699149"/>
                      <a:gd name="connsiteX86" fmla="*/ 610955 w 699147"/>
                      <a:gd name="connsiteY86" fmla="*/ 246237 h 699149"/>
                      <a:gd name="connsiteX87" fmla="*/ 609677 w 699147"/>
                      <a:gd name="connsiteY87" fmla="*/ 249648 h 699149"/>
                      <a:gd name="connsiteX88" fmla="*/ 606481 w 699147"/>
                      <a:gd name="connsiteY88" fmla="*/ 251012 h 699149"/>
                      <a:gd name="connsiteX89" fmla="*/ 602647 w 699147"/>
                      <a:gd name="connsiteY89" fmla="*/ 252376 h 699149"/>
                      <a:gd name="connsiteX90" fmla="*/ 599452 w 699147"/>
                      <a:gd name="connsiteY90" fmla="*/ 251012 h 699149"/>
                      <a:gd name="connsiteX91" fmla="*/ 596895 w 699147"/>
                      <a:gd name="connsiteY91" fmla="*/ 249648 h 699149"/>
                      <a:gd name="connsiteX92" fmla="*/ 595617 w 699147"/>
                      <a:gd name="connsiteY92" fmla="*/ 246237 h 699149"/>
                      <a:gd name="connsiteX93" fmla="*/ 594978 w 699147"/>
                      <a:gd name="connsiteY93" fmla="*/ 242145 h 699149"/>
                      <a:gd name="connsiteX94" fmla="*/ 594978 w 699147"/>
                      <a:gd name="connsiteY94" fmla="*/ 233959 h 699149"/>
                      <a:gd name="connsiteX95" fmla="*/ 595617 w 699147"/>
                      <a:gd name="connsiteY95" fmla="*/ 229867 h 699149"/>
                      <a:gd name="connsiteX96" fmla="*/ 596895 w 699147"/>
                      <a:gd name="connsiteY96" fmla="*/ 226456 h 699149"/>
                      <a:gd name="connsiteX97" fmla="*/ 599452 w 699147"/>
                      <a:gd name="connsiteY97" fmla="*/ 225092 h 699149"/>
                      <a:gd name="connsiteX98" fmla="*/ 602647 w 699147"/>
                      <a:gd name="connsiteY98" fmla="*/ 177346 h 699149"/>
                      <a:gd name="connsiteX99" fmla="*/ 606481 w 699147"/>
                      <a:gd name="connsiteY99" fmla="*/ 178028 h 699149"/>
                      <a:gd name="connsiteX100" fmla="*/ 609677 w 699147"/>
                      <a:gd name="connsiteY100" fmla="*/ 180074 h 699149"/>
                      <a:gd name="connsiteX101" fmla="*/ 610955 w 699147"/>
                      <a:gd name="connsiteY101" fmla="*/ 182803 h 699149"/>
                      <a:gd name="connsiteX102" fmla="*/ 612233 w 699147"/>
                      <a:gd name="connsiteY102" fmla="*/ 186895 h 699149"/>
                      <a:gd name="connsiteX103" fmla="*/ 612233 w 699147"/>
                      <a:gd name="connsiteY103" fmla="*/ 195763 h 699149"/>
                      <a:gd name="connsiteX104" fmla="*/ 610955 w 699147"/>
                      <a:gd name="connsiteY104" fmla="*/ 199173 h 699149"/>
                      <a:gd name="connsiteX105" fmla="*/ 609677 w 699147"/>
                      <a:gd name="connsiteY105" fmla="*/ 202584 h 699149"/>
                      <a:gd name="connsiteX106" fmla="*/ 606481 w 699147"/>
                      <a:gd name="connsiteY106" fmla="*/ 204630 h 699149"/>
                      <a:gd name="connsiteX107" fmla="*/ 602647 w 699147"/>
                      <a:gd name="connsiteY107" fmla="*/ 205312 h 699149"/>
                      <a:gd name="connsiteX108" fmla="*/ 599452 w 699147"/>
                      <a:gd name="connsiteY108" fmla="*/ 204630 h 699149"/>
                      <a:gd name="connsiteX109" fmla="*/ 596895 w 699147"/>
                      <a:gd name="connsiteY109" fmla="*/ 202584 h 699149"/>
                      <a:gd name="connsiteX110" fmla="*/ 595617 w 699147"/>
                      <a:gd name="connsiteY110" fmla="*/ 199173 h 699149"/>
                      <a:gd name="connsiteX111" fmla="*/ 594978 w 699147"/>
                      <a:gd name="connsiteY111" fmla="*/ 195763 h 699149"/>
                      <a:gd name="connsiteX112" fmla="*/ 594978 w 699147"/>
                      <a:gd name="connsiteY112" fmla="*/ 186895 h 699149"/>
                      <a:gd name="connsiteX113" fmla="*/ 595617 w 699147"/>
                      <a:gd name="connsiteY113" fmla="*/ 182803 h 699149"/>
                      <a:gd name="connsiteX114" fmla="*/ 596895 w 699147"/>
                      <a:gd name="connsiteY114" fmla="*/ 180074 h 699149"/>
                      <a:gd name="connsiteX115" fmla="*/ 599452 w 699147"/>
                      <a:gd name="connsiteY115" fmla="*/ 178028 h 699149"/>
                      <a:gd name="connsiteX116" fmla="*/ 135484 w 699147"/>
                      <a:gd name="connsiteY116" fmla="*/ 167115 h 699149"/>
                      <a:gd name="connsiteX117" fmla="*/ 128454 w 699147"/>
                      <a:gd name="connsiteY117" fmla="*/ 167797 h 699149"/>
                      <a:gd name="connsiteX118" fmla="*/ 120146 w 699147"/>
                      <a:gd name="connsiteY118" fmla="*/ 169843 h 699149"/>
                      <a:gd name="connsiteX119" fmla="*/ 113755 w 699147"/>
                      <a:gd name="connsiteY119" fmla="*/ 173253 h 699149"/>
                      <a:gd name="connsiteX120" fmla="*/ 106086 w 699147"/>
                      <a:gd name="connsiteY120" fmla="*/ 176664 h 699149"/>
                      <a:gd name="connsiteX121" fmla="*/ 100335 w 699147"/>
                      <a:gd name="connsiteY121" fmla="*/ 182121 h 699149"/>
                      <a:gd name="connsiteX122" fmla="*/ 94583 w 699147"/>
                      <a:gd name="connsiteY122" fmla="*/ 186895 h 699149"/>
                      <a:gd name="connsiteX123" fmla="*/ 89470 w 699147"/>
                      <a:gd name="connsiteY123" fmla="*/ 194398 h 699149"/>
                      <a:gd name="connsiteX124" fmla="*/ 33871 w 699147"/>
                      <a:gd name="connsiteY124" fmla="*/ 281024 h 699149"/>
                      <a:gd name="connsiteX125" fmla="*/ 17894 w 699147"/>
                      <a:gd name="connsiteY125" fmla="*/ 360147 h 699149"/>
                      <a:gd name="connsiteX126" fmla="*/ 17894 w 699147"/>
                      <a:gd name="connsiteY126" fmla="*/ 364240 h 699149"/>
                      <a:gd name="connsiteX127" fmla="*/ 19811 w 699147"/>
                      <a:gd name="connsiteY127" fmla="*/ 368333 h 699149"/>
                      <a:gd name="connsiteX128" fmla="*/ 23007 w 699147"/>
                      <a:gd name="connsiteY128" fmla="*/ 370379 h 699149"/>
                      <a:gd name="connsiteX129" fmla="*/ 26841 w 699147"/>
                      <a:gd name="connsiteY129" fmla="*/ 371743 h 699149"/>
                      <a:gd name="connsiteX130" fmla="*/ 29397 w 699147"/>
                      <a:gd name="connsiteY130" fmla="*/ 370379 h 699149"/>
                      <a:gd name="connsiteX131" fmla="*/ 31954 w 699147"/>
                      <a:gd name="connsiteY131" fmla="*/ 369697 h 699149"/>
                      <a:gd name="connsiteX132" fmla="*/ 33871 w 699147"/>
                      <a:gd name="connsiteY132" fmla="*/ 366968 h 699149"/>
                      <a:gd name="connsiteX133" fmla="*/ 34510 w 699147"/>
                      <a:gd name="connsiteY133" fmla="*/ 364240 h 699149"/>
                      <a:gd name="connsiteX134" fmla="*/ 56878 w 699147"/>
                      <a:gd name="connsiteY134" fmla="*/ 287163 h 699149"/>
                      <a:gd name="connsiteX135" fmla="*/ 58156 w 699147"/>
                      <a:gd name="connsiteY135" fmla="*/ 283753 h 699149"/>
                      <a:gd name="connsiteX136" fmla="*/ 121424 w 699147"/>
                      <a:gd name="connsiteY136" fmla="*/ 210769 h 699149"/>
                      <a:gd name="connsiteX137" fmla="*/ 123341 w 699147"/>
                      <a:gd name="connsiteY137" fmla="*/ 208722 h 699149"/>
                      <a:gd name="connsiteX138" fmla="*/ 125898 w 699147"/>
                      <a:gd name="connsiteY138" fmla="*/ 208040 h 699149"/>
                      <a:gd name="connsiteX139" fmla="*/ 129093 w 699147"/>
                      <a:gd name="connsiteY139" fmla="*/ 208040 h 699149"/>
                      <a:gd name="connsiteX140" fmla="*/ 131649 w 699147"/>
                      <a:gd name="connsiteY140" fmla="*/ 208722 h 699149"/>
                      <a:gd name="connsiteX141" fmla="*/ 134206 w 699147"/>
                      <a:gd name="connsiteY141" fmla="*/ 210769 h 699149"/>
                      <a:gd name="connsiteX142" fmla="*/ 135484 w 699147"/>
                      <a:gd name="connsiteY142" fmla="*/ 212815 h 699149"/>
                      <a:gd name="connsiteX143" fmla="*/ 136762 w 699147"/>
                      <a:gd name="connsiteY143" fmla="*/ 214861 h 699149"/>
                      <a:gd name="connsiteX144" fmla="*/ 136762 w 699147"/>
                      <a:gd name="connsiteY144" fmla="*/ 218954 h 699149"/>
                      <a:gd name="connsiteX145" fmla="*/ 125259 w 699147"/>
                      <a:gd name="connsiteY145" fmla="*/ 301487 h 699149"/>
                      <a:gd name="connsiteX146" fmla="*/ 123341 w 699147"/>
                      <a:gd name="connsiteY146" fmla="*/ 320586 h 699149"/>
                      <a:gd name="connsiteX147" fmla="*/ 122702 w 699147"/>
                      <a:gd name="connsiteY147" fmla="*/ 328771 h 699149"/>
                      <a:gd name="connsiteX148" fmla="*/ 122702 w 699147"/>
                      <a:gd name="connsiteY148" fmla="*/ 336274 h 699149"/>
                      <a:gd name="connsiteX149" fmla="*/ 123341 w 699147"/>
                      <a:gd name="connsiteY149" fmla="*/ 343095 h 699149"/>
                      <a:gd name="connsiteX150" fmla="*/ 125259 w 699147"/>
                      <a:gd name="connsiteY150" fmla="*/ 350598 h 699149"/>
                      <a:gd name="connsiteX151" fmla="*/ 126537 w 699147"/>
                      <a:gd name="connsiteY151" fmla="*/ 356737 h 699149"/>
                      <a:gd name="connsiteX152" fmla="*/ 129732 w 699147"/>
                      <a:gd name="connsiteY152" fmla="*/ 362194 h 699149"/>
                      <a:gd name="connsiteX153" fmla="*/ 133567 w 699147"/>
                      <a:gd name="connsiteY153" fmla="*/ 366968 h 699149"/>
                      <a:gd name="connsiteX154" fmla="*/ 137401 w 699147"/>
                      <a:gd name="connsiteY154" fmla="*/ 371743 h 699149"/>
                      <a:gd name="connsiteX155" fmla="*/ 143153 w 699147"/>
                      <a:gd name="connsiteY155" fmla="*/ 375154 h 699149"/>
                      <a:gd name="connsiteX156" fmla="*/ 148904 w 699147"/>
                      <a:gd name="connsiteY156" fmla="*/ 378564 h 699149"/>
                      <a:gd name="connsiteX157" fmla="*/ 156573 w 699147"/>
                      <a:gd name="connsiteY157" fmla="*/ 381975 h 699149"/>
                      <a:gd name="connsiteX158" fmla="*/ 164242 w 699147"/>
                      <a:gd name="connsiteY158" fmla="*/ 384703 h 699149"/>
                      <a:gd name="connsiteX159" fmla="*/ 173828 w 699147"/>
                      <a:gd name="connsiteY159" fmla="*/ 386749 h 699149"/>
                      <a:gd name="connsiteX160" fmla="*/ 184053 w 699147"/>
                      <a:gd name="connsiteY160" fmla="*/ 388795 h 699149"/>
                      <a:gd name="connsiteX161" fmla="*/ 297809 w 699147"/>
                      <a:gd name="connsiteY161" fmla="*/ 406530 h 699149"/>
                      <a:gd name="connsiteX162" fmla="*/ 301004 w 699147"/>
                      <a:gd name="connsiteY162" fmla="*/ 408576 h 699149"/>
                      <a:gd name="connsiteX163" fmla="*/ 303560 w 699147"/>
                      <a:gd name="connsiteY163" fmla="*/ 409940 h 699149"/>
                      <a:gd name="connsiteX164" fmla="*/ 304199 w 699147"/>
                      <a:gd name="connsiteY164" fmla="*/ 414033 h 699149"/>
                      <a:gd name="connsiteX165" fmla="*/ 304839 w 699147"/>
                      <a:gd name="connsiteY165" fmla="*/ 417443 h 699149"/>
                      <a:gd name="connsiteX166" fmla="*/ 297596 w 699147"/>
                      <a:gd name="connsiteY166" fmla="*/ 521804 h 699149"/>
                      <a:gd name="connsiteX167" fmla="*/ 325106 w 699147"/>
                      <a:gd name="connsiteY167" fmla="*/ 521804 h 699149"/>
                      <a:gd name="connsiteX168" fmla="*/ 341266 w 699147"/>
                      <a:gd name="connsiteY168" fmla="*/ 401073 h 699149"/>
                      <a:gd name="connsiteX169" fmla="*/ 341905 w 699147"/>
                      <a:gd name="connsiteY169" fmla="*/ 394252 h 699149"/>
                      <a:gd name="connsiteX170" fmla="*/ 341905 w 699147"/>
                      <a:gd name="connsiteY170" fmla="*/ 387431 h 699149"/>
                      <a:gd name="connsiteX171" fmla="*/ 339988 w 699147"/>
                      <a:gd name="connsiteY171" fmla="*/ 380610 h 699149"/>
                      <a:gd name="connsiteX172" fmla="*/ 337431 w 699147"/>
                      <a:gd name="connsiteY172" fmla="*/ 374471 h 699149"/>
                      <a:gd name="connsiteX173" fmla="*/ 332958 w 699147"/>
                      <a:gd name="connsiteY173" fmla="*/ 369015 h 699149"/>
                      <a:gd name="connsiteX174" fmla="*/ 328484 w 699147"/>
                      <a:gd name="connsiteY174" fmla="*/ 364240 h 699149"/>
                      <a:gd name="connsiteX175" fmla="*/ 322733 w 699147"/>
                      <a:gd name="connsiteY175" fmla="*/ 360830 h 699149"/>
                      <a:gd name="connsiteX176" fmla="*/ 315703 w 699147"/>
                      <a:gd name="connsiteY176" fmla="*/ 359465 h 699149"/>
                      <a:gd name="connsiteX177" fmla="*/ 235179 w 699147"/>
                      <a:gd name="connsiteY177" fmla="*/ 341731 h 699149"/>
                      <a:gd name="connsiteX178" fmla="*/ 231984 w 699147"/>
                      <a:gd name="connsiteY178" fmla="*/ 339685 h 699149"/>
                      <a:gd name="connsiteX179" fmla="*/ 229428 w 699147"/>
                      <a:gd name="connsiteY179" fmla="*/ 336956 h 699149"/>
                      <a:gd name="connsiteX180" fmla="*/ 228150 w 699147"/>
                      <a:gd name="connsiteY180" fmla="*/ 334910 h 699149"/>
                      <a:gd name="connsiteX181" fmla="*/ 228150 w 699147"/>
                      <a:gd name="connsiteY181" fmla="*/ 330817 h 699149"/>
                      <a:gd name="connsiteX182" fmla="*/ 241570 w 699147"/>
                      <a:gd name="connsiteY182" fmla="*/ 199173 h 699149"/>
                      <a:gd name="connsiteX183" fmla="*/ 241570 w 699147"/>
                      <a:gd name="connsiteY183" fmla="*/ 194398 h 699149"/>
                      <a:gd name="connsiteX184" fmla="*/ 240931 w 699147"/>
                      <a:gd name="connsiteY184" fmla="*/ 189624 h 699149"/>
                      <a:gd name="connsiteX185" fmla="*/ 239653 w 699147"/>
                      <a:gd name="connsiteY185" fmla="*/ 185531 h 699149"/>
                      <a:gd name="connsiteX186" fmla="*/ 237097 w 699147"/>
                      <a:gd name="connsiteY186" fmla="*/ 182121 h 699149"/>
                      <a:gd name="connsiteX187" fmla="*/ 233902 w 699147"/>
                      <a:gd name="connsiteY187" fmla="*/ 178030 h 699149"/>
                      <a:gd name="connsiteX188" fmla="*/ 233901 w 699147"/>
                      <a:gd name="connsiteY188" fmla="*/ 178028 h 699149"/>
                      <a:gd name="connsiteX189" fmla="*/ 229428 w 699147"/>
                      <a:gd name="connsiteY189" fmla="*/ 175982 h 699149"/>
                      <a:gd name="connsiteX190" fmla="*/ 225593 w 699147"/>
                      <a:gd name="connsiteY190" fmla="*/ 173936 h 699149"/>
                      <a:gd name="connsiteX191" fmla="*/ 221120 w 699147"/>
                      <a:gd name="connsiteY191" fmla="*/ 173253 h 699149"/>
                      <a:gd name="connsiteX192" fmla="*/ 143792 w 699147"/>
                      <a:gd name="connsiteY192" fmla="*/ 167115 h 699149"/>
                      <a:gd name="connsiteX193" fmla="*/ 489531 w 699147"/>
                      <a:gd name="connsiteY193" fmla="*/ 74350 h 699149"/>
                      <a:gd name="connsiteX194" fmla="*/ 493365 w 699147"/>
                      <a:gd name="connsiteY194" fmla="*/ 75714 h 699149"/>
                      <a:gd name="connsiteX195" fmla="*/ 495921 w 699147"/>
                      <a:gd name="connsiteY195" fmla="*/ 78443 h 699149"/>
                      <a:gd name="connsiteX196" fmla="*/ 557912 w 699147"/>
                      <a:gd name="connsiteY196" fmla="*/ 152791 h 699149"/>
                      <a:gd name="connsiteX197" fmla="*/ 558551 w 699147"/>
                      <a:gd name="connsiteY197" fmla="*/ 154837 h 699149"/>
                      <a:gd name="connsiteX198" fmla="*/ 559190 w 699147"/>
                      <a:gd name="connsiteY198" fmla="*/ 156883 h 699149"/>
                      <a:gd name="connsiteX199" fmla="*/ 559190 w 699147"/>
                      <a:gd name="connsiteY199" fmla="*/ 159612 h 699149"/>
                      <a:gd name="connsiteX200" fmla="*/ 558551 w 699147"/>
                      <a:gd name="connsiteY200" fmla="*/ 162340 h 699149"/>
                      <a:gd name="connsiteX201" fmla="*/ 557912 w 699147"/>
                      <a:gd name="connsiteY201" fmla="*/ 165069 h 699149"/>
                      <a:gd name="connsiteX202" fmla="*/ 555356 w 699147"/>
                      <a:gd name="connsiteY202" fmla="*/ 167115 h 699149"/>
                      <a:gd name="connsiteX203" fmla="*/ 553438 w 699147"/>
                      <a:gd name="connsiteY203" fmla="*/ 167797 h 699149"/>
                      <a:gd name="connsiteX204" fmla="*/ 550882 w 699147"/>
                      <a:gd name="connsiteY204" fmla="*/ 167797 h 699149"/>
                      <a:gd name="connsiteX205" fmla="*/ 524679 w 699147"/>
                      <a:gd name="connsiteY205" fmla="*/ 167797 h 699149"/>
                      <a:gd name="connsiteX206" fmla="*/ 524679 w 699147"/>
                      <a:gd name="connsiteY206" fmla="*/ 391524 h 699149"/>
                      <a:gd name="connsiteX207" fmla="*/ 524040 w 699147"/>
                      <a:gd name="connsiteY207" fmla="*/ 394934 h 699149"/>
                      <a:gd name="connsiteX208" fmla="*/ 522123 w 699147"/>
                      <a:gd name="connsiteY208" fmla="*/ 399027 h 699149"/>
                      <a:gd name="connsiteX209" fmla="*/ 518927 w 699147"/>
                      <a:gd name="connsiteY209" fmla="*/ 400391 h 699149"/>
                      <a:gd name="connsiteX210" fmla="*/ 515732 w 699147"/>
                      <a:gd name="connsiteY210" fmla="*/ 401073 h 699149"/>
                      <a:gd name="connsiteX211" fmla="*/ 512537 w 699147"/>
                      <a:gd name="connsiteY211" fmla="*/ 400391 h 699149"/>
                      <a:gd name="connsiteX212" fmla="*/ 509980 w 699147"/>
                      <a:gd name="connsiteY212" fmla="*/ 399027 h 699149"/>
                      <a:gd name="connsiteX213" fmla="*/ 507424 w 699147"/>
                      <a:gd name="connsiteY213" fmla="*/ 394934 h 699149"/>
                      <a:gd name="connsiteX214" fmla="*/ 506785 w 699147"/>
                      <a:gd name="connsiteY214" fmla="*/ 391524 h 699149"/>
                      <a:gd name="connsiteX215" fmla="*/ 506785 w 699147"/>
                      <a:gd name="connsiteY215" fmla="*/ 167797 h 699149"/>
                      <a:gd name="connsiteX216" fmla="*/ 498478 w 699147"/>
                      <a:gd name="connsiteY216" fmla="*/ 167797 h 699149"/>
                      <a:gd name="connsiteX217" fmla="*/ 495282 w 699147"/>
                      <a:gd name="connsiteY217" fmla="*/ 167115 h 699149"/>
                      <a:gd name="connsiteX218" fmla="*/ 492087 w 699147"/>
                      <a:gd name="connsiteY218" fmla="*/ 165069 h 699149"/>
                      <a:gd name="connsiteX219" fmla="*/ 490170 w 699147"/>
                      <a:gd name="connsiteY219" fmla="*/ 162340 h 699149"/>
                      <a:gd name="connsiteX220" fmla="*/ 489531 w 699147"/>
                      <a:gd name="connsiteY220" fmla="*/ 158930 h 699149"/>
                      <a:gd name="connsiteX221" fmla="*/ 490170 w 699147"/>
                      <a:gd name="connsiteY221" fmla="*/ 155519 h 699149"/>
                      <a:gd name="connsiteX222" fmla="*/ 492087 w 699147"/>
                      <a:gd name="connsiteY222" fmla="*/ 152109 h 699149"/>
                      <a:gd name="connsiteX223" fmla="*/ 495282 w 699147"/>
                      <a:gd name="connsiteY223" fmla="*/ 150063 h 699149"/>
                      <a:gd name="connsiteX224" fmla="*/ 498478 w 699147"/>
                      <a:gd name="connsiteY224" fmla="*/ 149380 h 699149"/>
                      <a:gd name="connsiteX225" fmla="*/ 515730 w 699147"/>
                      <a:gd name="connsiteY225" fmla="*/ 149380 h 699149"/>
                      <a:gd name="connsiteX226" fmla="*/ 515732 w 699147"/>
                      <a:gd name="connsiteY226" fmla="*/ 149380 h 699149"/>
                      <a:gd name="connsiteX227" fmla="*/ 515734 w 699147"/>
                      <a:gd name="connsiteY227" fmla="*/ 149380 h 699149"/>
                      <a:gd name="connsiteX228" fmla="*/ 531071 w 699147"/>
                      <a:gd name="connsiteY228" fmla="*/ 149380 h 699149"/>
                      <a:gd name="connsiteX229" fmla="*/ 489531 w 699147"/>
                      <a:gd name="connsiteY229" fmla="*/ 98223 h 699149"/>
                      <a:gd name="connsiteX230" fmla="*/ 447351 w 699147"/>
                      <a:gd name="connsiteY230" fmla="*/ 149380 h 699149"/>
                      <a:gd name="connsiteX231" fmla="*/ 463328 w 699147"/>
                      <a:gd name="connsiteY231" fmla="*/ 149380 h 699149"/>
                      <a:gd name="connsiteX232" fmla="*/ 466524 w 699147"/>
                      <a:gd name="connsiteY232" fmla="*/ 150063 h 699149"/>
                      <a:gd name="connsiteX233" fmla="*/ 469719 w 699147"/>
                      <a:gd name="connsiteY233" fmla="*/ 152109 h 699149"/>
                      <a:gd name="connsiteX234" fmla="*/ 470997 w 699147"/>
                      <a:gd name="connsiteY234" fmla="*/ 155519 h 699149"/>
                      <a:gd name="connsiteX235" fmla="*/ 472275 w 699147"/>
                      <a:gd name="connsiteY235" fmla="*/ 158930 h 699149"/>
                      <a:gd name="connsiteX236" fmla="*/ 472275 w 699147"/>
                      <a:gd name="connsiteY236" fmla="*/ 223729 h 699149"/>
                      <a:gd name="connsiteX237" fmla="*/ 470997 w 699147"/>
                      <a:gd name="connsiteY237" fmla="*/ 227821 h 699149"/>
                      <a:gd name="connsiteX238" fmla="*/ 469719 w 699147"/>
                      <a:gd name="connsiteY238" fmla="*/ 231232 h 699149"/>
                      <a:gd name="connsiteX239" fmla="*/ 466524 w 699147"/>
                      <a:gd name="connsiteY239" fmla="*/ 232596 h 699149"/>
                      <a:gd name="connsiteX240" fmla="*/ 463328 w 699147"/>
                      <a:gd name="connsiteY240" fmla="*/ 233960 h 699149"/>
                      <a:gd name="connsiteX241" fmla="*/ 459494 w 699147"/>
                      <a:gd name="connsiteY241" fmla="*/ 232596 h 699149"/>
                      <a:gd name="connsiteX242" fmla="*/ 457577 w 699147"/>
                      <a:gd name="connsiteY242" fmla="*/ 231232 h 699149"/>
                      <a:gd name="connsiteX243" fmla="*/ 455659 w 699147"/>
                      <a:gd name="connsiteY243" fmla="*/ 227821 h 699149"/>
                      <a:gd name="connsiteX244" fmla="*/ 455020 w 699147"/>
                      <a:gd name="connsiteY244" fmla="*/ 223729 h 699149"/>
                      <a:gd name="connsiteX245" fmla="*/ 455020 w 699147"/>
                      <a:gd name="connsiteY245" fmla="*/ 167797 h 699149"/>
                      <a:gd name="connsiteX246" fmla="*/ 428818 w 699147"/>
                      <a:gd name="connsiteY246" fmla="*/ 167797 h 699149"/>
                      <a:gd name="connsiteX247" fmla="*/ 426262 w 699147"/>
                      <a:gd name="connsiteY247" fmla="*/ 167797 h 699149"/>
                      <a:gd name="connsiteX248" fmla="*/ 423706 w 699147"/>
                      <a:gd name="connsiteY248" fmla="*/ 167115 h 699149"/>
                      <a:gd name="connsiteX249" fmla="*/ 421788 w 699147"/>
                      <a:gd name="connsiteY249" fmla="*/ 165069 h 699149"/>
                      <a:gd name="connsiteX250" fmla="*/ 420510 w 699147"/>
                      <a:gd name="connsiteY250" fmla="*/ 162340 h 699149"/>
                      <a:gd name="connsiteX251" fmla="*/ 419232 w 699147"/>
                      <a:gd name="connsiteY251" fmla="*/ 159612 h 699149"/>
                      <a:gd name="connsiteX252" fmla="*/ 419232 w 699147"/>
                      <a:gd name="connsiteY252" fmla="*/ 156883 h 699149"/>
                      <a:gd name="connsiteX253" fmla="*/ 420510 w 699147"/>
                      <a:gd name="connsiteY253" fmla="*/ 154837 h 699149"/>
                      <a:gd name="connsiteX254" fmla="*/ 421788 w 699147"/>
                      <a:gd name="connsiteY254" fmla="*/ 152791 h 699149"/>
                      <a:gd name="connsiteX255" fmla="*/ 483140 w 699147"/>
                      <a:gd name="connsiteY255" fmla="*/ 78443 h 699149"/>
                      <a:gd name="connsiteX256" fmla="*/ 486335 w 699147"/>
                      <a:gd name="connsiteY256" fmla="*/ 75714 h 699149"/>
                      <a:gd name="connsiteX257" fmla="*/ 203368 w 699147"/>
                      <a:gd name="connsiteY257" fmla="*/ 17563 h 699149"/>
                      <a:gd name="connsiteX258" fmla="*/ 167368 w 699147"/>
                      <a:gd name="connsiteY258" fmla="*/ 66163 h 699149"/>
                      <a:gd name="connsiteX259" fmla="*/ 203368 w 699147"/>
                      <a:gd name="connsiteY259" fmla="*/ 114763 h 699149"/>
                      <a:gd name="connsiteX260" fmla="*/ 239368 w 699147"/>
                      <a:gd name="connsiteY260" fmla="*/ 66163 h 699149"/>
                      <a:gd name="connsiteX261" fmla="*/ 203368 w 699147"/>
                      <a:gd name="connsiteY261" fmla="*/ 17563 h 699149"/>
                      <a:gd name="connsiteX262" fmla="*/ 629488 w 699147"/>
                      <a:gd name="connsiteY262" fmla="*/ 1 h 699149"/>
                      <a:gd name="connsiteX263" fmla="*/ 633322 w 699147"/>
                      <a:gd name="connsiteY263" fmla="*/ 683 h 699149"/>
                      <a:gd name="connsiteX264" fmla="*/ 635878 w 699147"/>
                      <a:gd name="connsiteY264" fmla="*/ 3412 h 699149"/>
                      <a:gd name="connsiteX265" fmla="*/ 697230 w 699147"/>
                      <a:gd name="connsiteY265" fmla="*/ 78442 h 699149"/>
                      <a:gd name="connsiteX266" fmla="*/ 698508 w 699147"/>
                      <a:gd name="connsiteY266" fmla="*/ 79806 h 699149"/>
                      <a:gd name="connsiteX267" fmla="*/ 699147 w 699147"/>
                      <a:gd name="connsiteY267" fmla="*/ 82534 h 699149"/>
                      <a:gd name="connsiteX268" fmla="*/ 699147 w 699147"/>
                      <a:gd name="connsiteY268" fmla="*/ 85263 h 699149"/>
                      <a:gd name="connsiteX269" fmla="*/ 698508 w 699147"/>
                      <a:gd name="connsiteY269" fmla="*/ 87991 h 699149"/>
                      <a:gd name="connsiteX270" fmla="*/ 697230 w 699147"/>
                      <a:gd name="connsiteY270" fmla="*/ 90720 h 699149"/>
                      <a:gd name="connsiteX271" fmla="*/ 695313 w 699147"/>
                      <a:gd name="connsiteY271" fmla="*/ 92084 h 699149"/>
                      <a:gd name="connsiteX272" fmla="*/ 693395 w 699147"/>
                      <a:gd name="connsiteY272" fmla="*/ 92766 h 699149"/>
                      <a:gd name="connsiteX273" fmla="*/ 690839 w 699147"/>
                      <a:gd name="connsiteY273" fmla="*/ 92766 h 699149"/>
                      <a:gd name="connsiteX274" fmla="*/ 664637 w 699147"/>
                      <a:gd name="connsiteY274" fmla="*/ 92766 h 699149"/>
                      <a:gd name="connsiteX275" fmla="*/ 664637 w 699147"/>
                      <a:gd name="connsiteY275" fmla="*/ 438589 h 699149"/>
                      <a:gd name="connsiteX276" fmla="*/ 663998 w 699147"/>
                      <a:gd name="connsiteY276" fmla="*/ 441999 h 699149"/>
                      <a:gd name="connsiteX277" fmla="*/ 662081 w 699147"/>
                      <a:gd name="connsiteY277" fmla="*/ 444728 h 699149"/>
                      <a:gd name="connsiteX278" fmla="*/ 658885 w 699147"/>
                      <a:gd name="connsiteY278" fmla="*/ 446774 h 699149"/>
                      <a:gd name="connsiteX279" fmla="*/ 655690 w 699147"/>
                      <a:gd name="connsiteY279" fmla="*/ 446774 h 699149"/>
                      <a:gd name="connsiteX280" fmla="*/ 419232 w 699147"/>
                      <a:gd name="connsiteY280" fmla="*/ 446774 h 699149"/>
                      <a:gd name="connsiteX281" fmla="*/ 419232 w 699147"/>
                      <a:gd name="connsiteY281" fmla="*/ 531354 h 699149"/>
                      <a:gd name="connsiteX282" fmla="*/ 418593 w 699147"/>
                      <a:gd name="connsiteY282" fmla="*/ 534764 h 699149"/>
                      <a:gd name="connsiteX283" fmla="*/ 417315 w 699147"/>
                      <a:gd name="connsiteY283" fmla="*/ 538175 h 699149"/>
                      <a:gd name="connsiteX284" fmla="*/ 414759 w 699147"/>
                      <a:gd name="connsiteY284" fmla="*/ 540221 h 699149"/>
                      <a:gd name="connsiteX285" fmla="*/ 411563 w 699147"/>
                      <a:gd name="connsiteY285" fmla="*/ 540903 h 699149"/>
                      <a:gd name="connsiteX286" fmla="*/ 245404 w 699147"/>
                      <a:gd name="connsiteY286" fmla="*/ 540903 h 699149"/>
                      <a:gd name="connsiteX287" fmla="*/ 245404 w 699147"/>
                      <a:gd name="connsiteY287" fmla="*/ 624801 h 699149"/>
                      <a:gd name="connsiteX288" fmla="*/ 244126 w 699147"/>
                      <a:gd name="connsiteY288" fmla="*/ 628211 h 699149"/>
                      <a:gd name="connsiteX289" fmla="*/ 242847 w 699147"/>
                      <a:gd name="connsiteY289" fmla="*/ 631622 h 699149"/>
                      <a:gd name="connsiteX290" fmla="*/ 239652 w 699147"/>
                      <a:gd name="connsiteY290" fmla="*/ 632986 h 699149"/>
                      <a:gd name="connsiteX291" fmla="*/ 235818 w 699147"/>
                      <a:gd name="connsiteY291" fmla="*/ 634350 h 699149"/>
                      <a:gd name="connsiteX292" fmla="*/ 69658 w 699147"/>
                      <a:gd name="connsiteY292" fmla="*/ 634350 h 699149"/>
                      <a:gd name="connsiteX293" fmla="*/ 69658 w 699147"/>
                      <a:gd name="connsiteY293" fmla="*/ 690282 h 699149"/>
                      <a:gd name="connsiteX294" fmla="*/ 69019 w 699147"/>
                      <a:gd name="connsiteY294" fmla="*/ 693692 h 699149"/>
                      <a:gd name="connsiteX295" fmla="*/ 67741 w 699147"/>
                      <a:gd name="connsiteY295" fmla="*/ 696421 h 699149"/>
                      <a:gd name="connsiteX296" fmla="*/ 65185 w 699147"/>
                      <a:gd name="connsiteY296" fmla="*/ 698467 h 699149"/>
                      <a:gd name="connsiteX297" fmla="*/ 61989 w 699147"/>
                      <a:gd name="connsiteY297" fmla="*/ 699149 h 699149"/>
                      <a:gd name="connsiteX298" fmla="*/ 57516 w 699147"/>
                      <a:gd name="connsiteY298" fmla="*/ 698467 h 699149"/>
                      <a:gd name="connsiteX299" fmla="*/ 54959 w 699147"/>
                      <a:gd name="connsiteY299" fmla="*/ 696421 h 699149"/>
                      <a:gd name="connsiteX300" fmla="*/ 53681 w 699147"/>
                      <a:gd name="connsiteY300" fmla="*/ 693692 h 699149"/>
                      <a:gd name="connsiteX301" fmla="*/ 52403 w 699147"/>
                      <a:gd name="connsiteY301" fmla="*/ 690282 h 699149"/>
                      <a:gd name="connsiteX302" fmla="*/ 52403 w 699147"/>
                      <a:gd name="connsiteY302" fmla="*/ 624801 h 699149"/>
                      <a:gd name="connsiteX303" fmla="*/ 53681 w 699147"/>
                      <a:gd name="connsiteY303" fmla="*/ 620708 h 699149"/>
                      <a:gd name="connsiteX304" fmla="*/ 54959 w 699147"/>
                      <a:gd name="connsiteY304" fmla="*/ 618662 h 699149"/>
                      <a:gd name="connsiteX305" fmla="*/ 57516 w 699147"/>
                      <a:gd name="connsiteY305" fmla="*/ 616616 h 699149"/>
                      <a:gd name="connsiteX306" fmla="*/ 61989 w 699147"/>
                      <a:gd name="connsiteY306" fmla="*/ 615934 h 699149"/>
                      <a:gd name="connsiteX307" fmla="*/ 104643 w 699147"/>
                      <a:gd name="connsiteY307" fmla="*/ 615934 h 699149"/>
                      <a:gd name="connsiteX308" fmla="*/ 122702 w 699147"/>
                      <a:gd name="connsiteY308" fmla="*/ 381974 h 699149"/>
                      <a:gd name="connsiteX309" fmla="*/ 122809 w 699147"/>
                      <a:gd name="connsiteY309" fmla="*/ 381406 h 699149"/>
                      <a:gd name="connsiteX310" fmla="*/ 119507 w 699147"/>
                      <a:gd name="connsiteY310" fmla="*/ 377882 h 699149"/>
                      <a:gd name="connsiteX311" fmla="*/ 115033 w 699147"/>
                      <a:gd name="connsiteY311" fmla="*/ 371743 h 699149"/>
                      <a:gd name="connsiteX312" fmla="*/ 111199 w 699147"/>
                      <a:gd name="connsiteY312" fmla="*/ 364240 h 699149"/>
                      <a:gd name="connsiteX313" fmla="*/ 108643 w 699147"/>
                      <a:gd name="connsiteY313" fmla="*/ 356737 h 699149"/>
                      <a:gd name="connsiteX314" fmla="*/ 106725 w 699147"/>
                      <a:gd name="connsiteY314" fmla="*/ 347870 h 699149"/>
                      <a:gd name="connsiteX315" fmla="*/ 106086 w 699147"/>
                      <a:gd name="connsiteY315" fmla="*/ 339003 h 699149"/>
                      <a:gd name="connsiteX316" fmla="*/ 105447 w 699147"/>
                      <a:gd name="connsiteY316" fmla="*/ 330135 h 699149"/>
                      <a:gd name="connsiteX317" fmla="*/ 105447 w 699147"/>
                      <a:gd name="connsiteY317" fmla="*/ 319904 h 699149"/>
                      <a:gd name="connsiteX318" fmla="*/ 108004 w 699147"/>
                      <a:gd name="connsiteY318" fmla="*/ 298759 h 699149"/>
                      <a:gd name="connsiteX319" fmla="*/ 115033 w 699147"/>
                      <a:gd name="connsiteY319" fmla="*/ 246238 h 699149"/>
                      <a:gd name="connsiteX320" fmla="*/ 73494 w 699147"/>
                      <a:gd name="connsiteY320" fmla="*/ 295348 h 699149"/>
                      <a:gd name="connsiteX321" fmla="*/ 51765 w 699147"/>
                      <a:gd name="connsiteY321" fmla="*/ 369697 h 699149"/>
                      <a:gd name="connsiteX322" fmla="*/ 50487 w 699147"/>
                      <a:gd name="connsiteY322" fmla="*/ 374471 h 699149"/>
                      <a:gd name="connsiteX323" fmla="*/ 47931 w 699147"/>
                      <a:gd name="connsiteY323" fmla="*/ 377882 h 699149"/>
                      <a:gd name="connsiteX324" fmla="*/ 45374 w 699147"/>
                      <a:gd name="connsiteY324" fmla="*/ 381292 h 699149"/>
                      <a:gd name="connsiteX325" fmla="*/ 42818 w 699147"/>
                      <a:gd name="connsiteY325" fmla="*/ 384703 h 699149"/>
                      <a:gd name="connsiteX326" fmla="*/ 39623 w 699147"/>
                      <a:gd name="connsiteY326" fmla="*/ 386749 h 699149"/>
                      <a:gd name="connsiteX327" fmla="*/ 35149 w 699147"/>
                      <a:gd name="connsiteY327" fmla="*/ 388113 h 699149"/>
                      <a:gd name="connsiteX328" fmla="*/ 31315 w 699147"/>
                      <a:gd name="connsiteY328" fmla="*/ 390160 h 699149"/>
                      <a:gd name="connsiteX329" fmla="*/ 26841 w 699147"/>
                      <a:gd name="connsiteY329" fmla="*/ 390160 h 699149"/>
                      <a:gd name="connsiteX330" fmla="*/ 21089 w 699147"/>
                      <a:gd name="connsiteY330" fmla="*/ 390160 h 699149"/>
                      <a:gd name="connsiteX331" fmla="*/ 15338 w 699147"/>
                      <a:gd name="connsiteY331" fmla="*/ 387431 h 699149"/>
                      <a:gd name="connsiteX332" fmla="*/ 10864 w 699147"/>
                      <a:gd name="connsiteY332" fmla="*/ 384703 h 699149"/>
                      <a:gd name="connsiteX333" fmla="*/ 6391 w 699147"/>
                      <a:gd name="connsiteY333" fmla="*/ 380610 h 699149"/>
                      <a:gd name="connsiteX334" fmla="*/ 3195 w 699147"/>
                      <a:gd name="connsiteY334" fmla="*/ 375154 h 699149"/>
                      <a:gd name="connsiteX335" fmla="*/ 639 w 699147"/>
                      <a:gd name="connsiteY335" fmla="*/ 369015 h 699149"/>
                      <a:gd name="connsiteX336" fmla="*/ 0 w 699147"/>
                      <a:gd name="connsiteY336" fmla="*/ 362876 h 699149"/>
                      <a:gd name="connsiteX337" fmla="*/ 639 w 699147"/>
                      <a:gd name="connsiteY337" fmla="*/ 356055 h 699149"/>
                      <a:gd name="connsiteX338" fmla="*/ 17255 w 699147"/>
                      <a:gd name="connsiteY338" fmla="*/ 274886 h 699149"/>
                      <a:gd name="connsiteX339" fmla="*/ 17894 w 699147"/>
                      <a:gd name="connsiteY339" fmla="*/ 272157 h 699149"/>
                      <a:gd name="connsiteX340" fmla="*/ 74772 w 699147"/>
                      <a:gd name="connsiteY340" fmla="*/ 183485 h 699149"/>
                      <a:gd name="connsiteX341" fmla="*/ 81162 w 699147"/>
                      <a:gd name="connsiteY341" fmla="*/ 174618 h 699149"/>
                      <a:gd name="connsiteX342" fmla="*/ 88831 w 699147"/>
                      <a:gd name="connsiteY342" fmla="*/ 167797 h 699149"/>
                      <a:gd name="connsiteX343" fmla="*/ 97139 w 699147"/>
                      <a:gd name="connsiteY343" fmla="*/ 160976 h 699149"/>
                      <a:gd name="connsiteX344" fmla="*/ 105447 w 699147"/>
                      <a:gd name="connsiteY344" fmla="*/ 156201 h 699149"/>
                      <a:gd name="connsiteX345" fmla="*/ 115033 w 699147"/>
                      <a:gd name="connsiteY345" fmla="*/ 152109 h 699149"/>
                      <a:gd name="connsiteX346" fmla="*/ 125259 w 699147"/>
                      <a:gd name="connsiteY346" fmla="*/ 149380 h 699149"/>
                      <a:gd name="connsiteX347" fmla="*/ 134845 w 699147"/>
                      <a:gd name="connsiteY347" fmla="*/ 148698 h 699149"/>
                      <a:gd name="connsiteX348" fmla="*/ 145070 w 699147"/>
                      <a:gd name="connsiteY348" fmla="*/ 148698 h 699149"/>
                      <a:gd name="connsiteX349" fmla="*/ 223037 w 699147"/>
                      <a:gd name="connsiteY349" fmla="*/ 154837 h 699149"/>
                      <a:gd name="connsiteX350" fmla="*/ 230067 w 699147"/>
                      <a:gd name="connsiteY350" fmla="*/ 156201 h 699149"/>
                      <a:gd name="connsiteX351" fmla="*/ 237736 w 699147"/>
                      <a:gd name="connsiteY351" fmla="*/ 158929 h 699149"/>
                      <a:gd name="connsiteX352" fmla="*/ 241571 w 699147"/>
                      <a:gd name="connsiteY352" fmla="*/ 161795 h 699149"/>
                      <a:gd name="connsiteX353" fmla="*/ 244126 w 699147"/>
                      <a:gd name="connsiteY353" fmla="*/ 162340 h 699149"/>
                      <a:gd name="connsiteX354" fmla="*/ 327206 w 699147"/>
                      <a:gd name="connsiteY354" fmla="*/ 217590 h 699149"/>
                      <a:gd name="connsiteX355" fmla="*/ 377693 w 699147"/>
                      <a:gd name="connsiteY355" fmla="*/ 200538 h 699149"/>
                      <a:gd name="connsiteX356" fmla="*/ 383445 w 699147"/>
                      <a:gd name="connsiteY356" fmla="*/ 199173 h 699149"/>
                      <a:gd name="connsiteX357" fmla="*/ 387918 w 699147"/>
                      <a:gd name="connsiteY357" fmla="*/ 199173 h 699149"/>
                      <a:gd name="connsiteX358" fmla="*/ 393031 w 699147"/>
                      <a:gd name="connsiteY358" fmla="*/ 200538 h 699149"/>
                      <a:gd name="connsiteX359" fmla="*/ 398143 w 699147"/>
                      <a:gd name="connsiteY359" fmla="*/ 201902 h 699149"/>
                      <a:gd name="connsiteX360" fmla="*/ 401978 w 699147"/>
                      <a:gd name="connsiteY360" fmla="*/ 204630 h 699149"/>
                      <a:gd name="connsiteX361" fmla="*/ 405812 w 699147"/>
                      <a:gd name="connsiteY361" fmla="*/ 208041 h 699149"/>
                      <a:gd name="connsiteX362" fmla="*/ 409008 w 699147"/>
                      <a:gd name="connsiteY362" fmla="*/ 212815 h 699149"/>
                      <a:gd name="connsiteX363" fmla="*/ 411564 w 699147"/>
                      <a:gd name="connsiteY363" fmla="*/ 217590 h 699149"/>
                      <a:gd name="connsiteX364" fmla="*/ 412203 w 699147"/>
                      <a:gd name="connsiteY364" fmla="*/ 223047 h 699149"/>
                      <a:gd name="connsiteX365" fmla="*/ 412842 w 699147"/>
                      <a:gd name="connsiteY365" fmla="*/ 228503 h 699149"/>
                      <a:gd name="connsiteX366" fmla="*/ 412203 w 699147"/>
                      <a:gd name="connsiteY366" fmla="*/ 233960 h 699149"/>
                      <a:gd name="connsiteX367" fmla="*/ 410286 w 699147"/>
                      <a:gd name="connsiteY367" fmla="*/ 238735 h 699149"/>
                      <a:gd name="connsiteX368" fmla="*/ 407729 w 699147"/>
                      <a:gd name="connsiteY368" fmla="*/ 243510 h 699149"/>
                      <a:gd name="connsiteX369" fmla="*/ 405812 w 699147"/>
                      <a:gd name="connsiteY369" fmla="*/ 247602 h 699149"/>
                      <a:gd name="connsiteX370" fmla="*/ 401339 w 699147"/>
                      <a:gd name="connsiteY370" fmla="*/ 251013 h 699149"/>
                      <a:gd name="connsiteX371" fmla="*/ 397504 w 699147"/>
                      <a:gd name="connsiteY371" fmla="*/ 253741 h 699149"/>
                      <a:gd name="connsiteX372" fmla="*/ 329123 w 699147"/>
                      <a:gd name="connsiteY372" fmla="*/ 281707 h 699149"/>
                      <a:gd name="connsiteX373" fmla="*/ 325928 w 699147"/>
                      <a:gd name="connsiteY373" fmla="*/ 283071 h 699149"/>
                      <a:gd name="connsiteX374" fmla="*/ 322733 w 699147"/>
                      <a:gd name="connsiteY374" fmla="*/ 281707 h 699149"/>
                      <a:gd name="connsiteX375" fmla="*/ 266494 w 699147"/>
                      <a:gd name="connsiteY375" fmla="*/ 259880 h 699149"/>
                      <a:gd name="connsiteX376" fmla="*/ 263299 w 699147"/>
                      <a:gd name="connsiteY376" fmla="*/ 258516 h 699149"/>
                      <a:gd name="connsiteX377" fmla="*/ 261381 w 699147"/>
                      <a:gd name="connsiteY377" fmla="*/ 255787 h 699149"/>
                      <a:gd name="connsiteX378" fmla="*/ 260742 w 699147"/>
                      <a:gd name="connsiteY378" fmla="*/ 252377 h 699149"/>
                      <a:gd name="connsiteX379" fmla="*/ 261381 w 699147"/>
                      <a:gd name="connsiteY379" fmla="*/ 248284 h 699149"/>
                      <a:gd name="connsiteX380" fmla="*/ 263299 w 699147"/>
                      <a:gd name="connsiteY380" fmla="*/ 244874 h 699149"/>
                      <a:gd name="connsiteX381" fmla="*/ 265855 w 699147"/>
                      <a:gd name="connsiteY381" fmla="*/ 243510 h 699149"/>
                      <a:gd name="connsiteX382" fmla="*/ 269050 w 699147"/>
                      <a:gd name="connsiteY382" fmla="*/ 242145 h 699149"/>
                      <a:gd name="connsiteX383" fmla="*/ 272246 w 699147"/>
                      <a:gd name="connsiteY383" fmla="*/ 242145 h 699149"/>
                      <a:gd name="connsiteX384" fmla="*/ 325928 w 699147"/>
                      <a:gd name="connsiteY384" fmla="*/ 263290 h 699149"/>
                      <a:gd name="connsiteX385" fmla="*/ 390474 w 699147"/>
                      <a:gd name="connsiteY385" fmla="*/ 236006 h 699149"/>
                      <a:gd name="connsiteX386" fmla="*/ 393031 w 699147"/>
                      <a:gd name="connsiteY386" fmla="*/ 234642 h 699149"/>
                      <a:gd name="connsiteX387" fmla="*/ 394948 w 699147"/>
                      <a:gd name="connsiteY387" fmla="*/ 231914 h 699149"/>
                      <a:gd name="connsiteX388" fmla="*/ 395587 w 699147"/>
                      <a:gd name="connsiteY388" fmla="*/ 228503 h 699149"/>
                      <a:gd name="connsiteX389" fmla="*/ 394948 w 699147"/>
                      <a:gd name="connsiteY389" fmla="*/ 223729 h 699149"/>
                      <a:gd name="connsiteX390" fmla="*/ 393031 w 699147"/>
                      <a:gd name="connsiteY390" fmla="*/ 221000 h 699149"/>
                      <a:gd name="connsiteX391" fmla="*/ 389835 w 699147"/>
                      <a:gd name="connsiteY391" fmla="*/ 218954 h 699149"/>
                      <a:gd name="connsiteX392" fmla="*/ 386640 w 699147"/>
                      <a:gd name="connsiteY392" fmla="*/ 217590 h 699149"/>
                      <a:gd name="connsiteX393" fmla="*/ 383445 w 699147"/>
                      <a:gd name="connsiteY393" fmla="*/ 217590 h 699149"/>
                      <a:gd name="connsiteX394" fmla="*/ 329123 w 699147"/>
                      <a:gd name="connsiteY394" fmla="*/ 237371 h 699149"/>
                      <a:gd name="connsiteX395" fmla="*/ 324650 w 699147"/>
                      <a:gd name="connsiteY395" fmla="*/ 237371 h 699149"/>
                      <a:gd name="connsiteX396" fmla="*/ 321454 w 699147"/>
                      <a:gd name="connsiteY396" fmla="*/ 235324 h 699149"/>
                      <a:gd name="connsiteX397" fmla="*/ 258825 w 699147"/>
                      <a:gd name="connsiteY397" fmla="*/ 194722 h 699149"/>
                      <a:gd name="connsiteX398" fmla="*/ 258825 w 699147"/>
                      <a:gd name="connsiteY398" fmla="*/ 201219 h 699149"/>
                      <a:gd name="connsiteX399" fmla="*/ 246044 w 699147"/>
                      <a:gd name="connsiteY399" fmla="*/ 324679 h 699149"/>
                      <a:gd name="connsiteX400" fmla="*/ 320176 w 699147"/>
                      <a:gd name="connsiteY400" fmla="*/ 341049 h 699149"/>
                      <a:gd name="connsiteX401" fmla="*/ 329123 w 699147"/>
                      <a:gd name="connsiteY401" fmla="*/ 344459 h 699149"/>
                      <a:gd name="connsiteX402" fmla="*/ 338070 w 699147"/>
                      <a:gd name="connsiteY402" fmla="*/ 348552 h 699149"/>
                      <a:gd name="connsiteX403" fmla="*/ 345739 w 699147"/>
                      <a:gd name="connsiteY403" fmla="*/ 356055 h 699149"/>
                      <a:gd name="connsiteX404" fmla="*/ 348935 w 699147"/>
                      <a:gd name="connsiteY404" fmla="*/ 359465 h 699149"/>
                      <a:gd name="connsiteX405" fmla="*/ 351491 w 699147"/>
                      <a:gd name="connsiteY405" fmla="*/ 363558 h 699149"/>
                      <a:gd name="connsiteX406" fmla="*/ 354686 w 699147"/>
                      <a:gd name="connsiteY406" fmla="*/ 369015 h 699149"/>
                      <a:gd name="connsiteX407" fmla="*/ 355964 w 699147"/>
                      <a:gd name="connsiteY407" fmla="*/ 373107 h 699149"/>
                      <a:gd name="connsiteX408" fmla="*/ 357882 w 699147"/>
                      <a:gd name="connsiteY408" fmla="*/ 378564 h 699149"/>
                      <a:gd name="connsiteX409" fmla="*/ 358521 w 699147"/>
                      <a:gd name="connsiteY409" fmla="*/ 384021 h 699149"/>
                      <a:gd name="connsiteX410" fmla="*/ 360438 w 699147"/>
                      <a:gd name="connsiteY410" fmla="*/ 394252 h 699149"/>
                      <a:gd name="connsiteX411" fmla="*/ 359160 w 699147"/>
                      <a:gd name="connsiteY411" fmla="*/ 399709 h 699149"/>
                      <a:gd name="connsiteX412" fmla="*/ 358521 w 699147"/>
                      <a:gd name="connsiteY412" fmla="*/ 405166 h 699149"/>
                      <a:gd name="connsiteX413" fmla="*/ 342736 w 699147"/>
                      <a:gd name="connsiteY413" fmla="*/ 521804 h 699149"/>
                      <a:gd name="connsiteX414" fmla="*/ 401977 w 699147"/>
                      <a:gd name="connsiteY414" fmla="*/ 521804 h 699149"/>
                      <a:gd name="connsiteX415" fmla="*/ 401977 w 699147"/>
                      <a:gd name="connsiteY415" fmla="*/ 438589 h 699149"/>
                      <a:gd name="connsiteX416" fmla="*/ 403255 w 699147"/>
                      <a:gd name="connsiteY416" fmla="*/ 434496 h 699149"/>
                      <a:gd name="connsiteX417" fmla="*/ 404533 w 699147"/>
                      <a:gd name="connsiteY417" fmla="*/ 431086 h 699149"/>
                      <a:gd name="connsiteX418" fmla="*/ 407090 w 699147"/>
                      <a:gd name="connsiteY418" fmla="*/ 429722 h 699149"/>
                      <a:gd name="connsiteX419" fmla="*/ 411563 w 699147"/>
                      <a:gd name="connsiteY419" fmla="*/ 428357 h 699149"/>
                      <a:gd name="connsiteX420" fmla="*/ 646743 w 699147"/>
                      <a:gd name="connsiteY420" fmla="*/ 428357 h 699149"/>
                      <a:gd name="connsiteX421" fmla="*/ 646743 w 699147"/>
                      <a:gd name="connsiteY421" fmla="*/ 92766 h 699149"/>
                      <a:gd name="connsiteX422" fmla="*/ 638435 w 699147"/>
                      <a:gd name="connsiteY422" fmla="*/ 92766 h 699149"/>
                      <a:gd name="connsiteX423" fmla="*/ 635239 w 699147"/>
                      <a:gd name="connsiteY423" fmla="*/ 92084 h 699149"/>
                      <a:gd name="connsiteX424" fmla="*/ 631405 w 699147"/>
                      <a:gd name="connsiteY424" fmla="*/ 90720 h 699149"/>
                      <a:gd name="connsiteX425" fmla="*/ 630127 w 699147"/>
                      <a:gd name="connsiteY425" fmla="*/ 87991 h 699149"/>
                      <a:gd name="connsiteX426" fmla="*/ 629488 w 699147"/>
                      <a:gd name="connsiteY426" fmla="*/ 84581 h 699149"/>
                      <a:gd name="connsiteX427" fmla="*/ 630127 w 699147"/>
                      <a:gd name="connsiteY427" fmla="*/ 80488 h 699149"/>
                      <a:gd name="connsiteX428" fmla="*/ 631405 w 699147"/>
                      <a:gd name="connsiteY428" fmla="*/ 77078 h 699149"/>
                      <a:gd name="connsiteX429" fmla="*/ 635239 w 699147"/>
                      <a:gd name="connsiteY429" fmla="*/ 75714 h 699149"/>
                      <a:gd name="connsiteX430" fmla="*/ 638435 w 699147"/>
                      <a:gd name="connsiteY430" fmla="*/ 74349 h 699149"/>
                      <a:gd name="connsiteX431" fmla="*/ 671028 w 699147"/>
                      <a:gd name="connsiteY431" fmla="*/ 74349 h 699149"/>
                      <a:gd name="connsiteX432" fmla="*/ 629488 w 699147"/>
                      <a:gd name="connsiteY432" fmla="*/ 23874 h 699149"/>
                      <a:gd name="connsiteX433" fmla="*/ 587308 w 699147"/>
                      <a:gd name="connsiteY433" fmla="*/ 74349 h 699149"/>
                      <a:gd name="connsiteX434" fmla="*/ 602646 w 699147"/>
                      <a:gd name="connsiteY434" fmla="*/ 74349 h 699149"/>
                      <a:gd name="connsiteX435" fmla="*/ 606481 w 699147"/>
                      <a:gd name="connsiteY435" fmla="*/ 75714 h 699149"/>
                      <a:gd name="connsiteX436" fmla="*/ 609676 w 699147"/>
                      <a:gd name="connsiteY436" fmla="*/ 77078 h 699149"/>
                      <a:gd name="connsiteX437" fmla="*/ 610954 w 699147"/>
                      <a:gd name="connsiteY437" fmla="*/ 80488 h 699149"/>
                      <a:gd name="connsiteX438" fmla="*/ 612232 w 699147"/>
                      <a:gd name="connsiteY438" fmla="*/ 84581 h 699149"/>
                      <a:gd name="connsiteX439" fmla="*/ 612232 w 699147"/>
                      <a:gd name="connsiteY439" fmla="*/ 149380 h 699149"/>
                      <a:gd name="connsiteX440" fmla="*/ 610954 w 699147"/>
                      <a:gd name="connsiteY440" fmla="*/ 152790 h 699149"/>
                      <a:gd name="connsiteX441" fmla="*/ 609676 w 699147"/>
                      <a:gd name="connsiteY441" fmla="*/ 156201 h 699149"/>
                      <a:gd name="connsiteX442" fmla="*/ 606481 w 699147"/>
                      <a:gd name="connsiteY442" fmla="*/ 158247 h 699149"/>
                      <a:gd name="connsiteX443" fmla="*/ 602646 w 699147"/>
                      <a:gd name="connsiteY443" fmla="*/ 158929 h 699149"/>
                      <a:gd name="connsiteX444" fmla="*/ 599451 w 699147"/>
                      <a:gd name="connsiteY444" fmla="*/ 158247 h 699149"/>
                      <a:gd name="connsiteX445" fmla="*/ 596895 w 699147"/>
                      <a:gd name="connsiteY445" fmla="*/ 156201 h 699149"/>
                      <a:gd name="connsiteX446" fmla="*/ 595616 w 699147"/>
                      <a:gd name="connsiteY446" fmla="*/ 152790 h 699149"/>
                      <a:gd name="connsiteX447" fmla="*/ 594977 w 699147"/>
                      <a:gd name="connsiteY447" fmla="*/ 149380 h 699149"/>
                      <a:gd name="connsiteX448" fmla="*/ 594977 w 699147"/>
                      <a:gd name="connsiteY448" fmla="*/ 92766 h 699149"/>
                      <a:gd name="connsiteX449" fmla="*/ 568136 w 699147"/>
                      <a:gd name="connsiteY449" fmla="*/ 92766 h 699149"/>
                      <a:gd name="connsiteX450" fmla="*/ 565580 w 699147"/>
                      <a:gd name="connsiteY450" fmla="*/ 92766 h 699149"/>
                      <a:gd name="connsiteX451" fmla="*/ 563663 w 699147"/>
                      <a:gd name="connsiteY451" fmla="*/ 92084 h 699149"/>
                      <a:gd name="connsiteX452" fmla="*/ 561745 w 699147"/>
                      <a:gd name="connsiteY452" fmla="*/ 90720 h 699149"/>
                      <a:gd name="connsiteX453" fmla="*/ 559828 w 699147"/>
                      <a:gd name="connsiteY453" fmla="*/ 87991 h 699149"/>
                      <a:gd name="connsiteX454" fmla="*/ 559189 w 699147"/>
                      <a:gd name="connsiteY454" fmla="*/ 85263 h 699149"/>
                      <a:gd name="connsiteX455" fmla="*/ 559189 w 699147"/>
                      <a:gd name="connsiteY455" fmla="*/ 82534 h 699149"/>
                      <a:gd name="connsiteX456" fmla="*/ 559828 w 699147"/>
                      <a:gd name="connsiteY456" fmla="*/ 79806 h 699149"/>
                      <a:gd name="connsiteX457" fmla="*/ 561745 w 699147"/>
                      <a:gd name="connsiteY457" fmla="*/ 78442 h 699149"/>
                      <a:gd name="connsiteX458" fmla="*/ 622458 w 699147"/>
                      <a:gd name="connsiteY458" fmla="*/ 3412 h 699149"/>
                      <a:gd name="connsiteX459" fmla="*/ 625653 w 699147"/>
                      <a:gd name="connsiteY459" fmla="*/ 683 h 699149"/>
                      <a:gd name="connsiteX460" fmla="*/ 203369 w 699147"/>
                      <a:gd name="connsiteY460" fmla="*/ 0 h 699149"/>
                      <a:gd name="connsiteX461" fmla="*/ 258010 w 699147"/>
                      <a:gd name="connsiteY461" fmla="*/ 66164 h 699149"/>
                      <a:gd name="connsiteX462" fmla="*/ 203369 w 699147"/>
                      <a:gd name="connsiteY462" fmla="*/ 132328 h 699149"/>
                      <a:gd name="connsiteX463" fmla="*/ 148728 w 699147"/>
                      <a:gd name="connsiteY463" fmla="*/ 66164 h 699149"/>
                      <a:gd name="connsiteX464" fmla="*/ 203369 w 699147"/>
                      <a:gd name="connsiteY464" fmla="*/ 0 h 69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699147" h="699149">
                        <a:moveTo>
                          <a:pt x="139181" y="393491"/>
                        </a:moveTo>
                        <a:lnTo>
                          <a:pt x="123240" y="615934"/>
                        </a:lnTo>
                        <a:lnTo>
                          <a:pt x="156188" y="615934"/>
                        </a:lnTo>
                        <a:lnTo>
                          <a:pt x="180219" y="432449"/>
                        </a:lnTo>
                        <a:lnTo>
                          <a:pt x="180858" y="428357"/>
                        </a:lnTo>
                        <a:lnTo>
                          <a:pt x="183414" y="426310"/>
                        </a:lnTo>
                        <a:lnTo>
                          <a:pt x="186610" y="424264"/>
                        </a:lnTo>
                        <a:lnTo>
                          <a:pt x="189805" y="424264"/>
                        </a:lnTo>
                        <a:lnTo>
                          <a:pt x="193000" y="424946"/>
                        </a:lnTo>
                        <a:lnTo>
                          <a:pt x="195557" y="427675"/>
                        </a:lnTo>
                        <a:lnTo>
                          <a:pt x="197474" y="431085"/>
                        </a:lnTo>
                        <a:lnTo>
                          <a:pt x="197474" y="434495"/>
                        </a:lnTo>
                        <a:lnTo>
                          <a:pt x="173796" y="615934"/>
                        </a:lnTo>
                        <a:lnTo>
                          <a:pt x="226871" y="615934"/>
                        </a:lnTo>
                        <a:lnTo>
                          <a:pt x="226871" y="531354"/>
                        </a:lnTo>
                        <a:lnTo>
                          <a:pt x="228149" y="527943"/>
                        </a:lnTo>
                        <a:lnTo>
                          <a:pt x="230066" y="525215"/>
                        </a:lnTo>
                        <a:lnTo>
                          <a:pt x="232622" y="522487"/>
                        </a:lnTo>
                        <a:lnTo>
                          <a:pt x="235818" y="521804"/>
                        </a:lnTo>
                        <a:lnTo>
                          <a:pt x="278971" y="521804"/>
                        </a:lnTo>
                        <a:lnTo>
                          <a:pt x="286944" y="424264"/>
                        </a:lnTo>
                        <a:lnTo>
                          <a:pt x="181497" y="407212"/>
                        </a:lnTo>
                        <a:lnTo>
                          <a:pt x="169355" y="405166"/>
                        </a:lnTo>
                        <a:lnTo>
                          <a:pt x="157851" y="401073"/>
                        </a:lnTo>
                        <a:lnTo>
                          <a:pt x="146987" y="397663"/>
                        </a:lnTo>
                        <a:lnTo>
                          <a:pt x="139318" y="393570"/>
                        </a:lnTo>
                        <a:close/>
                        <a:moveTo>
                          <a:pt x="463328" y="298759"/>
                        </a:moveTo>
                        <a:lnTo>
                          <a:pt x="466523" y="299441"/>
                        </a:lnTo>
                        <a:lnTo>
                          <a:pt x="469719" y="301487"/>
                        </a:lnTo>
                        <a:lnTo>
                          <a:pt x="470997" y="304898"/>
                        </a:lnTo>
                        <a:lnTo>
                          <a:pt x="472275" y="308308"/>
                        </a:lnTo>
                        <a:lnTo>
                          <a:pt x="472275" y="317176"/>
                        </a:lnTo>
                        <a:lnTo>
                          <a:pt x="470997" y="320586"/>
                        </a:lnTo>
                        <a:lnTo>
                          <a:pt x="469719" y="323997"/>
                        </a:lnTo>
                        <a:lnTo>
                          <a:pt x="466523" y="326043"/>
                        </a:lnTo>
                        <a:lnTo>
                          <a:pt x="463328" y="326725"/>
                        </a:lnTo>
                        <a:lnTo>
                          <a:pt x="459494" y="326043"/>
                        </a:lnTo>
                        <a:lnTo>
                          <a:pt x="457576" y="323997"/>
                        </a:lnTo>
                        <a:lnTo>
                          <a:pt x="455659" y="320586"/>
                        </a:lnTo>
                        <a:lnTo>
                          <a:pt x="455020" y="317176"/>
                        </a:lnTo>
                        <a:lnTo>
                          <a:pt x="455020" y="308308"/>
                        </a:lnTo>
                        <a:lnTo>
                          <a:pt x="455659" y="304898"/>
                        </a:lnTo>
                        <a:lnTo>
                          <a:pt x="457576" y="301487"/>
                        </a:lnTo>
                        <a:lnTo>
                          <a:pt x="459494" y="299441"/>
                        </a:lnTo>
                        <a:close/>
                        <a:moveTo>
                          <a:pt x="602647" y="270793"/>
                        </a:moveTo>
                        <a:lnTo>
                          <a:pt x="606481" y="271475"/>
                        </a:lnTo>
                        <a:lnTo>
                          <a:pt x="609677" y="272839"/>
                        </a:lnTo>
                        <a:lnTo>
                          <a:pt x="610955" y="276932"/>
                        </a:lnTo>
                        <a:lnTo>
                          <a:pt x="612233" y="280342"/>
                        </a:lnTo>
                        <a:lnTo>
                          <a:pt x="612233" y="289210"/>
                        </a:lnTo>
                        <a:lnTo>
                          <a:pt x="610955" y="293302"/>
                        </a:lnTo>
                        <a:lnTo>
                          <a:pt x="609677" y="296031"/>
                        </a:lnTo>
                        <a:lnTo>
                          <a:pt x="606481" y="298077"/>
                        </a:lnTo>
                        <a:lnTo>
                          <a:pt x="602647" y="298759"/>
                        </a:lnTo>
                        <a:lnTo>
                          <a:pt x="599452" y="298077"/>
                        </a:lnTo>
                        <a:lnTo>
                          <a:pt x="596895" y="296031"/>
                        </a:lnTo>
                        <a:lnTo>
                          <a:pt x="595617" y="293302"/>
                        </a:lnTo>
                        <a:lnTo>
                          <a:pt x="594978" y="289210"/>
                        </a:lnTo>
                        <a:lnTo>
                          <a:pt x="594978" y="280342"/>
                        </a:lnTo>
                        <a:lnTo>
                          <a:pt x="595617" y="276932"/>
                        </a:lnTo>
                        <a:lnTo>
                          <a:pt x="596895" y="272839"/>
                        </a:lnTo>
                        <a:lnTo>
                          <a:pt x="599452" y="271475"/>
                        </a:lnTo>
                        <a:close/>
                        <a:moveTo>
                          <a:pt x="463328" y="252376"/>
                        </a:moveTo>
                        <a:lnTo>
                          <a:pt x="466523" y="253058"/>
                        </a:lnTo>
                        <a:lnTo>
                          <a:pt x="469719" y="254422"/>
                        </a:lnTo>
                        <a:lnTo>
                          <a:pt x="470997" y="257151"/>
                        </a:lnTo>
                        <a:lnTo>
                          <a:pt x="472275" y="261925"/>
                        </a:lnTo>
                        <a:lnTo>
                          <a:pt x="472275" y="270793"/>
                        </a:lnTo>
                        <a:lnTo>
                          <a:pt x="470997" y="274203"/>
                        </a:lnTo>
                        <a:lnTo>
                          <a:pt x="469719" y="277614"/>
                        </a:lnTo>
                        <a:lnTo>
                          <a:pt x="466523" y="278978"/>
                        </a:lnTo>
                        <a:lnTo>
                          <a:pt x="463328" y="280342"/>
                        </a:lnTo>
                        <a:lnTo>
                          <a:pt x="459494" y="278978"/>
                        </a:lnTo>
                        <a:lnTo>
                          <a:pt x="457576" y="277614"/>
                        </a:lnTo>
                        <a:lnTo>
                          <a:pt x="455659" y="274203"/>
                        </a:lnTo>
                        <a:lnTo>
                          <a:pt x="455020" y="270793"/>
                        </a:lnTo>
                        <a:lnTo>
                          <a:pt x="455020" y="261925"/>
                        </a:lnTo>
                        <a:lnTo>
                          <a:pt x="455659" y="257151"/>
                        </a:lnTo>
                        <a:lnTo>
                          <a:pt x="457576" y="254422"/>
                        </a:lnTo>
                        <a:lnTo>
                          <a:pt x="459494" y="253058"/>
                        </a:lnTo>
                        <a:close/>
                        <a:moveTo>
                          <a:pt x="602647" y="223728"/>
                        </a:moveTo>
                        <a:lnTo>
                          <a:pt x="606481" y="225092"/>
                        </a:lnTo>
                        <a:lnTo>
                          <a:pt x="609677" y="226456"/>
                        </a:lnTo>
                        <a:lnTo>
                          <a:pt x="610955" y="229867"/>
                        </a:lnTo>
                        <a:lnTo>
                          <a:pt x="612233" y="233959"/>
                        </a:lnTo>
                        <a:lnTo>
                          <a:pt x="612233" y="242145"/>
                        </a:lnTo>
                        <a:lnTo>
                          <a:pt x="610955" y="246237"/>
                        </a:lnTo>
                        <a:lnTo>
                          <a:pt x="609677" y="249648"/>
                        </a:lnTo>
                        <a:lnTo>
                          <a:pt x="606481" y="251012"/>
                        </a:lnTo>
                        <a:lnTo>
                          <a:pt x="602647" y="252376"/>
                        </a:lnTo>
                        <a:lnTo>
                          <a:pt x="599452" y="251012"/>
                        </a:lnTo>
                        <a:lnTo>
                          <a:pt x="596895" y="249648"/>
                        </a:lnTo>
                        <a:lnTo>
                          <a:pt x="595617" y="246237"/>
                        </a:lnTo>
                        <a:lnTo>
                          <a:pt x="594978" y="242145"/>
                        </a:lnTo>
                        <a:lnTo>
                          <a:pt x="594978" y="233959"/>
                        </a:lnTo>
                        <a:lnTo>
                          <a:pt x="595617" y="229867"/>
                        </a:lnTo>
                        <a:lnTo>
                          <a:pt x="596895" y="226456"/>
                        </a:lnTo>
                        <a:lnTo>
                          <a:pt x="599452" y="225092"/>
                        </a:lnTo>
                        <a:close/>
                        <a:moveTo>
                          <a:pt x="602647" y="177346"/>
                        </a:moveTo>
                        <a:lnTo>
                          <a:pt x="606481" y="178028"/>
                        </a:lnTo>
                        <a:lnTo>
                          <a:pt x="609677" y="180074"/>
                        </a:lnTo>
                        <a:lnTo>
                          <a:pt x="610955" y="182803"/>
                        </a:lnTo>
                        <a:lnTo>
                          <a:pt x="612233" y="186895"/>
                        </a:lnTo>
                        <a:lnTo>
                          <a:pt x="612233" y="195763"/>
                        </a:lnTo>
                        <a:lnTo>
                          <a:pt x="610955" y="199173"/>
                        </a:lnTo>
                        <a:lnTo>
                          <a:pt x="609677" y="202584"/>
                        </a:lnTo>
                        <a:lnTo>
                          <a:pt x="606481" y="204630"/>
                        </a:lnTo>
                        <a:lnTo>
                          <a:pt x="602647" y="205312"/>
                        </a:lnTo>
                        <a:lnTo>
                          <a:pt x="599452" y="204630"/>
                        </a:lnTo>
                        <a:lnTo>
                          <a:pt x="596895" y="202584"/>
                        </a:lnTo>
                        <a:lnTo>
                          <a:pt x="595617" y="199173"/>
                        </a:lnTo>
                        <a:lnTo>
                          <a:pt x="594978" y="195763"/>
                        </a:lnTo>
                        <a:lnTo>
                          <a:pt x="594978" y="186895"/>
                        </a:lnTo>
                        <a:lnTo>
                          <a:pt x="595617" y="182803"/>
                        </a:lnTo>
                        <a:lnTo>
                          <a:pt x="596895" y="180074"/>
                        </a:lnTo>
                        <a:lnTo>
                          <a:pt x="599452" y="178028"/>
                        </a:lnTo>
                        <a:close/>
                        <a:moveTo>
                          <a:pt x="135484" y="167115"/>
                        </a:moveTo>
                        <a:lnTo>
                          <a:pt x="128454" y="167797"/>
                        </a:lnTo>
                        <a:lnTo>
                          <a:pt x="120146" y="169843"/>
                        </a:lnTo>
                        <a:lnTo>
                          <a:pt x="113755" y="173253"/>
                        </a:lnTo>
                        <a:lnTo>
                          <a:pt x="106086" y="176664"/>
                        </a:lnTo>
                        <a:lnTo>
                          <a:pt x="100335" y="182121"/>
                        </a:lnTo>
                        <a:lnTo>
                          <a:pt x="94583" y="186895"/>
                        </a:lnTo>
                        <a:lnTo>
                          <a:pt x="89470" y="194398"/>
                        </a:lnTo>
                        <a:lnTo>
                          <a:pt x="33871" y="281024"/>
                        </a:lnTo>
                        <a:lnTo>
                          <a:pt x="17894" y="360147"/>
                        </a:lnTo>
                        <a:lnTo>
                          <a:pt x="17894" y="364240"/>
                        </a:lnTo>
                        <a:lnTo>
                          <a:pt x="19811" y="368333"/>
                        </a:lnTo>
                        <a:lnTo>
                          <a:pt x="23007" y="370379"/>
                        </a:lnTo>
                        <a:lnTo>
                          <a:pt x="26841" y="371743"/>
                        </a:lnTo>
                        <a:lnTo>
                          <a:pt x="29397" y="370379"/>
                        </a:lnTo>
                        <a:lnTo>
                          <a:pt x="31954" y="369697"/>
                        </a:lnTo>
                        <a:lnTo>
                          <a:pt x="33871" y="366968"/>
                        </a:lnTo>
                        <a:lnTo>
                          <a:pt x="34510" y="364240"/>
                        </a:lnTo>
                        <a:lnTo>
                          <a:pt x="56878" y="287163"/>
                        </a:lnTo>
                        <a:lnTo>
                          <a:pt x="58156" y="283753"/>
                        </a:lnTo>
                        <a:lnTo>
                          <a:pt x="121424" y="210769"/>
                        </a:lnTo>
                        <a:lnTo>
                          <a:pt x="123341" y="208722"/>
                        </a:lnTo>
                        <a:lnTo>
                          <a:pt x="125898" y="208040"/>
                        </a:lnTo>
                        <a:lnTo>
                          <a:pt x="129093" y="208040"/>
                        </a:lnTo>
                        <a:lnTo>
                          <a:pt x="131649" y="208722"/>
                        </a:lnTo>
                        <a:lnTo>
                          <a:pt x="134206" y="210769"/>
                        </a:lnTo>
                        <a:lnTo>
                          <a:pt x="135484" y="212815"/>
                        </a:lnTo>
                        <a:lnTo>
                          <a:pt x="136762" y="214861"/>
                        </a:lnTo>
                        <a:lnTo>
                          <a:pt x="136762" y="218954"/>
                        </a:lnTo>
                        <a:lnTo>
                          <a:pt x="125259" y="301487"/>
                        </a:lnTo>
                        <a:lnTo>
                          <a:pt x="123341" y="320586"/>
                        </a:lnTo>
                        <a:lnTo>
                          <a:pt x="122702" y="328771"/>
                        </a:lnTo>
                        <a:lnTo>
                          <a:pt x="122702" y="336274"/>
                        </a:lnTo>
                        <a:lnTo>
                          <a:pt x="123341" y="343095"/>
                        </a:lnTo>
                        <a:lnTo>
                          <a:pt x="125259" y="350598"/>
                        </a:lnTo>
                        <a:lnTo>
                          <a:pt x="126537" y="356737"/>
                        </a:lnTo>
                        <a:lnTo>
                          <a:pt x="129732" y="362194"/>
                        </a:lnTo>
                        <a:lnTo>
                          <a:pt x="133567" y="366968"/>
                        </a:lnTo>
                        <a:lnTo>
                          <a:pt x="137401" y="371743"/>
                        </a:lnTo>
                        <a:lnTo>
                          <a:pt x="143153" y="375154"/>
                        </a:lnTo>
                        <a:lnTo>
                          <a:pt x="148904" y="378564"/>
                        </a:lnTo>
                        <a:lnTo>
                          <a:pt x="156573" y="381975"/>
                        </a:lnTo>
                        <a:lnTo>
                          <a:pt x="164242" y="384703"/>
                        </a:lnTo>
                        <a:lnTo>
                          <a:pt x="173828" y="386749"/>
                        </a:lnTo>
                        <a:lnTo>
                          <a:pt x="184053" y="388795"/>
                        </a:lnTo>
                        <a:lnTo>
                          <a:pt x="297809" y="406530"/>
                        </a:lnTo>
                        <a:lnTo>
                          <a:pt x="301004" y="408576"/>
                        </a:lnTo>
                        <a:lnTo>
                          <a:pt x="303560" y="409940"/>
                        </a:lnTo>
                        <a:lnTo>
                          <a:pt x="304199" y="414033"/>
                        </a:lnTo>
                        <a:lnTo>
                          <a:pt x="304839" y="417443"/>
                        </a:lnTo>
                        <a:lnTo>
                          <a:pt x="297596" y="521804"/>
                        </a:lnTo>
                        <a:lnTo>
                          <a:pt x="325106" y="521804"/>
                        </a:lnTo>
                        <a:lnTo>
                          <a:pt x="341266" y="401073"/>
                        </a:lnTo>
                        <a:lnTo>
                          <a:pt x="341905" y="394252"/>
                        </a:lnTo>
                        <a:lnTo>
                          <a:pt x="341905" y="387431"/>
                        </a:lnTo>
                        <a:lnTo>
                          <a:pt x="339988" y="380610"/>
                        </a:lnTo>
                        <a:lnTo>
                          <a:pt x="337431" y="374471"/>
                        </a:lnTo>
                        <a:lnTo>
                          <a:pt x="332958" y="369015"/>
                        </a:lnTo>
                        <a:lnTo>
                          <a:pt x="328484" y="364240"/>
                        </a:lnTo>
                        <a:lnTo>
                          <a:pt x="322733" y="360830"/>
                        </a:lnTo>
                        <a:lnTo>
                          <a:pt x="315703" y="359465"/>
                        </a:lnTo>
                        <a:lnTo>
                          <a:pt x="235179" y="341731"/>
                        </a:lnTo>
                        <a:lnTo>
                          <a:pt x="231984" y="339685"/>
                        </a:lnTo>
                        <a:lnTo>
                          <a:pt x="229428" y="336956"/>
                        </a:lnTo>
                        <a:lnTo>
                          <a:pt x="228150" y="334910"/>
                        </a:lnTo>
                        <a:lnTo>
                          <a:pt x="228150" y="330817"/>
                        </a:lnTo>
                        <a:lnTo>
                          <a:pt x="241570" y="199173"/>
                        </a:lnTo>
                        <a:lnTo>
                          <a:pt x="241570" y="194398"/>
                        </a:lnTo>
                        <a:lnTo>
                          <a:pt x="240931" y="189624"/>
                        </a:lnTo>
                        <a:lnTo>
                          <a:pt x="239653" y="185531"/>
                        </a:lnTo>
                        <a:lnTo>
                          <a:pt x="237097" y="182121"/>
                        </a:lnTo>
                        <a:lnTo>
                          <a:pt x="233902" y="178030"/>
                        </a:lnTo>
                        <a:lnTo>
                          <a:pt x="233901" y="178028"/>
                        </a:lnTo>
                        <a:lnTo>
                          <a:pt x="229428" y="175982"/>
                        </a:lnTo>
                        <a:lnTo>
                          <a:pt x="225593" y="173936"/>
                        </a:lnTo>
                        <a:lnTo>
                          <a:pt x="221120" y="173253"/>
                        </a:lnTo>
                        <a:lnTo>
                          <a:pt x="143792" y="167115"/>
                        </a:lnTo>
                        <a:close/>
                        <a:moveTo>
                          <a:pt x="489531" y="74350"/>
                        </a:moveTo>
                        <a:lnTo>
                          <a:pt x="493365" y="75714"/>
                        </a:lnTo>
                        <a:lnTo>
                          <a:pt x="495921" y="78443"/>
                        </a:lnTo>
                        <a:lnTo>
                          <a:pt x="557912" y="152791"/>
                        </a:lnTo>
                        <a:lnTo>
                          <a:pt x="558551" y="154837"/>
                        </a:lnTo>
                        <a:lnTo>
                          <a:pt x="559190" y="156883"/>
                        </a:lnTo>
                        <a:lnTo>
                          <a:pt x="559190" y="159612"/>
                        </a:lnTo>
                        <a:lnTo>
                          <a:pt x="558551" y="162340"/>
                        </a:lnTo>
                        <a:lnTo>
                          <a:pt x="557912" y="165069"/>
                        </a:lnTo>
                        <a:lnTo>
                          <a:pt x="555356" y="167115"/>
                        </a:lnTo>
                        <a:lnTo>
                          <a:pt x="553438" y="167797"/>
                        </a:lnTo>
                        <a:lnTo>
                          <a:pt x="550882" y="167797"/>
                        </a:lnTo>
                        <a:lnTo>
                          <a:pt x="524679" y="167797"/>
                        </a:lnTo>
                        <a:lnTo>
                          <a:pt x="524679" y="391524"/>
                        </a:lnTo>
                        <a:lnTo>
                          <a:pt x="524040" y="394934"/>
                        </a:lnTo>
                        <a:lnTo>
                          <a:pt x="522123" y="399027"/>
                        </a:lnTo>
                        <a:lnTo>
                          <a:pt x="518927" y="400391"/>
                        </a:lnTo>
                        <a:lnTo>
                          <a:pt x="515732" y="401073"/>
                        </a:lnTo>
                        <a:lnTo>
                          <a:pt x="512537" y="400391"/>
                        </a:lnTo>
                        <a:lnTo>
                          <a:pt x="509980" y="399027"/>
                        </a:lnTo>
                        <a:lnTo>
                          <a:pt x="507424" y="394934"/>
                        </a:lnTo>
                        <a:lnTo>
                          <a:pt x="506785" y="391524"/>
                        </a:lnTo>
                        <a:lnTo>
                          <a:pt x="506785" y="167797"/>
                        </a:lnTo>
                        <a:lnTo>
                          <a:pt x="498478" y="167797"/>
                        </a:lnTo>
                        <a:lnTo>
                          <a:pt x="495282" y="167115"/>
                        </a:lnTo>
                        <a:lnTo>
                          <a:pt x="492087" y="165069"/>
                        </a:lnTo>
                        <a:lnTo>
                          <a:pt x="490170" y="162340"/>
                        </a:lnTo>
                        <a:lnTo>
                          <a:pt x="489531" y="158930"/>
                        </a:lnTo>
                        <a:lnTo>
                          <a:pt x="490170" y="155519"/>
                        </a:lnTo>
                        <a:lnTo>
                          <a:pt x="492087" y="152109"/>
                        </a:lnTo>
                        <a:lnTo>
                          <a:pt x="495282" y="150063"/>
                        </a:lnTo>
                        <a:lnTo>
                          <a:pt x="498478" y="149380"/>
                        </a:lnTo>
                        <a:lnTo>
                          <a:pt x="515730" y="149380"/>
                        </a:lnTo>
                        <a:lnTo>
                          <a:pt x="515732" y="149380"/>
                        </a:lnTo>
                        <a:lnTo>
                          <a:pt x="515734" y="149380"/>
                        </a:lnTo>
                        <a:lnTo>
                          <a:pt x="531071" y="149380"/>
                        </a:lnTo>
                        <a:lnTo>
                          <a:pt x="489531" y="98223"/>
                        </a:lnTo>
                        <a:lnTo>
                          <a:pt x="447351" y="149380"/>
                        </a:lnTo>
                        <a:lnTo>
                          <a:pt x="463328" y="149380"/>
                        </a:lnTo>
                        <a:lnTo>
                          <a:pt x="466524" y="150063"/>
                        </a:lnTo>
                        <a:lnTo>
                          <a:pt x="469719" y="152109"/>
                        </a:lnTo>
                        <a:lnTo>
                          <a:pt x="470997" y="155519"/>
                        </a:lnTo>
                        <a:lnTo>
                          <a:pt x="472275" y="158930"/>
                        </a:lnTo>
                        <a:lnTo>
                          <a:pt x="472275" y="223729"/>
                        </a:lnTo>
                        <a:lnTo>
                          <a:pt x="470997" y="227821"/>
                        </a:lnTo>
                        <a:lnTo>
                          <a:pt x="469719" y="231232"/>
                        </a:lnTo>
                        <a:lnTo>
                          <a:pt x="466524" y="232596"/>
                        </a:lnTo>
                        <a:lnTo>
                          <a:pt x="463328" y="233960"/>
                        </a:lnTo>
                        <a:lnTo>
                          <a:pt x="459494" y="232596"/>
                        </a:lnTo>
                        <a:lnTo>
                          <a:pt x="457577" y="231232"/>
                        </a:lnTo>
                        <a:lnTo>
                          <a:pt x="455659" y="227821"/>
                        </a:lnTo>
                        <a:lnTo>
                          <a:pt x="455020" y="223729"/>
                        </a:lnTo>
                        <a:lnTo>
                          <a:pt x="455020" y="167797"/>
                        </a:lnTo>
                        <a:lnTo>
                          <a:pt x="428818" y="167797"/>
                        </a:lnTo>
                        <a:lnTo>
                          <a:pt x="426262" y="167797"/>
                        </a:lnTo>
                        <a:lnTo>
                          <a:pt x="423706" y="167115"/>
                        </a:lnTo>
                        <a:lnTo>
                          <a:pt x="421788" y="165069"/>
                        </a:lnTo>
                        <a:lnTo>
                          <a:pt x="420510" y="162340"/>
                        </a:lnTo>
                        <a:lnTo>
                          <a:pt x="419232" y="159612"/>
                        </a:lnTo>
                        <a:lnTo>
                          <a:pt x="419232" y="156883"/>
                        </a:lnTo>
                        <a:lnTo>
                          <a:pt x="420510" y="154837"/>
                        </a:lnTo>
                        <a:lnTo>
                          <a:pt x="421788" y="152791"/>
                        </a:lnTo>
                        <a:lnTo>
                          <a:pt x="483140" y="78443"/>
                        </a:lnTo>
                        <a:lnTo>
                          <a:pt x="486335" y="75714"/>
                        </a:lnTo>
                        <a:close/>
                        <a:moveTo>
                          <a:pt x="203368" y="17563"/>
                        </a:moveTo>
                        <a:cubicBezTo>
                          <a:pt x="183486" y="17563"/>
                          <a:pt x="167368" y="39322"/>
                          <a:pt x="167368" y="66163"/>
                        </a:cubicBezTo>
                        <a:cubicBezTo>
                          <a:pt x="167368" y="93004"/>
                          <a:pt x="183486" y="114763"/>
                          <a:pt x="203368" y="114763"/>
                        </a:cubicBezTo>
                        <a:cubicBezTo>
                          <a:pt x="223250" y="114763"/>
                          <a:pt x="239368" y="93004"/>
                          <a:pt x="239368" y="66163"/>
                        </a:cubicBezTo>
                        <a:cubicBezTo>
                          <a:pt x="239368" y="39322"/>
                          <a:pt x="223250" y="17563"/>
                          <a:pt x="203368" y="17563"/>
                        </a:cubicBezTo>
                        <a:close/>
                        <a:moveTo>
                          <a:pt x="629488" y="1"/>
                        </a:moveTo>
                        <a:lnTo>
                          <a:pt x="633322" y="683"/>
                        </a:lnTo>
                        <a:lnTo>
                          <a:pt x="635878" y="3412"/>
                        </a:lnTo>
                        <a:lnTo>
                          <a:pt x="697230" y="78442"/>
                        </a:lnTo>
                        <a:lnTo>
                          <a:pt x="698508" y="79806"/>
                        </a:lnTo>
                        <a:lnTo>
                          <a:pt x="699147" y="82534"/>
                        </a:lnTo>
                        <a:lnTo>
                          <a:pt x="699147" y="85263"/>
                        </a:lnTo>
                        <a:lnTo>
                          <a:pt x="698508" y="87991"/>
                        </a:lnTo>
                        <a:lnTo>
                          <a:pt x="697230" y="90720"/>
                        </a:lnTo>
                        <a:lnTo>
                          <a:pt x="695313" y="92084"/>
                        </a:lnTo>
                        <a:lnTo>
                          <a:pt x="693395" y="92766"/>
                        </a:lnTo>
                        <a:lnTo>
                          <a:pt x="690839" y="92766"/>
                        </a:lnTo>
                        <a:lnTo>
                          <a:pt x="664637" y="92766"/>
                        </a:lnTo>
                        <a:lnTo>
                          <a:pt x="664637" y="438589"/>
                        </a:lnTo>
                        <a:lnTo>
                          <a:pt x="663998" y="441999"/>
                        </a:lnTo>
                        <a:lnTo>
                          <a:pt x="662081" y="444728"/>
                        </a:lnTo>
                        <a:lnTo>
                          <a:pt x="658885" y="446774"/>
                        </a:lnTo>
                        <a:lnTo>
                          <a:pt x="655690" y="446774"/>
                        </a:lnTo>
                        <a:lnTo>
                          <a:pt x="419232" y="446774"/>
                        </a:lnTo>
                        <a:lnTo>
                          <a:pt x="419232" y="531354"/>
                        </a:lnTo>
                        <a:lnTo>
                          <a:pt x="418593" y="534764"/>
                        </a:lnTo>
                        <a:lnTo>
                          <a:pt x="417315" y="538175"/>
                        </a:lnTo>
                        <a:lnTo>
                          <a:pt x="414759" y="540221"/>
                        </a:lnTo>
                        <a:lnTo>
                          <a:pt x="411563" y="540903"/>
                        </a:lnTo>
                        <a:lnTo>
                          <a:pt x="245404" y="540903"/>
                        </a:lnTo>
                        <a:lnTo>
                          <a:pt x="245404" y="624801"/>
                        </a:lnTo>
                        <a:lnTo>
                          <a:pt x="244126" y="628211"/>
                        </a:lnTo>
                        <a:lnTo>
                          <a:pt x="242847" y="631622"/>
                        </a:lnTo>
                        <a:lnTo>
                          <a:pt x="239652" y="632986"/>
                        </a:lnTo>
                        <a:lnTo>
                          <a:pt x="235818" y="634350"/>
                        </a:lnTo>
                        <a:lnTo>
                          <a:pt x="69658" y="634350"/>
                        </a:lnTo>
                        <a:lnTo>
                          <a:pt x="69658" y="690282"/>
                        </a:lnTo>
                        <a:lnTo>
                          <a:pt x="69019" y="693692"/>
                        </a:lnTo>
                        <a:lnTo>
                          <a:pt x="67741" y="696421"/>
                        </a:lnTo>
                        <a:lnTo>
                          <a:pt x="65185" y="698467"/>
                        </a:lnTo>
                        <a:lnTo>
                          <a:pt x="61989" y="699149"/>
                        </a:lnTo>
                        <a:lnTo>
                          <a:pt x="57516" y="698467"/>
                        </a:lnTo>
                        <a:lnTo>
                          <a:pt x="54959" y="696421"/>
                        </a:lnTo>
                        <a:lnTo>
                          <a:pt x="53681" y="693692"/>
                        </a:lnTo>
                        <a:lnTo>
                          <a:pt x="52403" y="690282"/>
                        </a:lnTo>
                        <a:lnTo>
                          <a:pt x="52403" y="624801"/>
                        </a:lnTo>
                        <a:lnTo>
                          <a:pt x="53681" y="620708"/>
                        </a:lnTo>
                        <a:lnTo>
                          <a:pt x="54959" y="618662"/>
                        </a:lnTo>
                        <a:lnTo>
                          <a:pt x="57516" y="616616"/>
                        </a:lnTo>
                        <a:lnTo>
                          <a:pt x="61989" y="615934"/>
                        </a:lnTo>
                        <a:lnTo>
                          <a:pt x="104643" y="615934"/>
                        </a:lnTo>
                        <a:lnTo>
                          <a:pt x="122702" y="381974"/>
                        </a:lnTo>
                        <a:lnTo>
                          <a:pt x="122809" y="381406"/>
                        </a:lnTo>
                        <a:lnTo>
                          <a:pt x="119507" y="377882"/>
                        </a:lnTo>
                        <a:lnTo>
                          <a:pt x="115033" y="371743"/>
                        </a:lnTo>
                        <a:lnTo>
                          <a:pt x="111199" y="364240"/>
                        </a:lnTo>
                        <a:lnTo>
                          <a:pt x="108643" y="356737"/>
                        </a:lnTo>
                        <a:lnTo>
                          <a:pt x="106725" y="347870"/>
                        </a:lnTo>
                        <a:lnTo>
                          <a:pt x="106086" y="339003"/>
                        </a:lnTo>
                        <a:lnTo>
                          <a:pt x="105447" y="330135"/>
                        </a:lnTo>
                        <a:lnTo>
                          <a:pt x="105447" y="319904"/>
                        </a:lnTo>
                        <a:lnTo>
                          <a:pt x="108004" y="298759"/>
                        </a:lnTo>
                        <a:lnTo>
                          <a:pt x="115033" y="246238"/>
                        </a:lnTo>
                        <a:lnTo>
                          <a:pt x="73494" y="295348"/>
                        </a:lnTo>
                        <a:lnTo>
                          <a:pt x="51765" y="369697"/>
                        </a:lnTo>
                        <a:lnTo>
                          <a:pt x="50487" y="374471"/>
                        </a:lnTo>
                        <a:lnTo>
                          <a:pt x="47931" y="377882"/>
                        </a:lnTo>
                        <a:lnTo>
                          <a:pt x="45374" y="381292"/>
                        </a:lnTo>
                        <a:lnTo>
                          <a:pt x="42818" y="384703"/>
                        </a:lnTo>
                        <a:lnTo>
                          <a:pt x="39623" y="386749"/>
                        </a:lnTo>
                        <a:lnTo>
                          <a:pt x="35149" y="388113"/>
                        </a:lnTo>
                        <a:lnTo>
                          <a:pt x="31315" y="390160"/>
                        </a:lnTo>
                        <a:lnTo>
                          <a:pt x="26841" y="390160"/>
                        </a:lnTo>
                        <a:lnTo>
                          <a:pt x="21089" y="390160"/>
                        </a:lnTo>
                        <a:lnTo>
                          <a:pt x="15338" y="387431"/>
                        </a:lnTo>
                        <a:lnTo>
                          <a:pt x="10864" y="384703"/>
                        </a:lnTo>
                        <a:lnTo>
                          <a:pt x="6391" y="380610"/>
                        </a:lnTo>
                        <a:lnTo>
                          <a:pt x="3195" y="375154"/>
                        </a:lnTo>
                        <a:lnTo>
                          <a:pt x="639" y="369015"/>
                        </a:lnTo>
                        <a:lnTo>
                          <a:pt x="0" y="362876"/>
                        </a:lnTo>
                        <a:lnTo>
                          <a:pt x="639" y="356055"/>
                        </a:lnTo>
                        <a:lnTo>
                          <a:pt x="17255" y="274886"/>
                        </a:lnTo>
                        <a:lnTo>
                          <a:pt x="17894" y="272157"/>
                        </a:lnTo>
                        <a:lnTo>
                          <a:pt x="74772" y="183485"/>
                        </a:lnTo>
                        <a:lnTo>
                          <a:pt x="81162" y="174618"/>
                        </a:lnTo>
                        <a:lnTo>
                          <a:pt x="88831" y="167797"/>
                        </a:lnTo>
                        <a:lnTo>
                          <a:pt x="97139" y="160976"/>
                        </a:lnTo>
                        <a:lnTo>
                          <a:pt x="105447" y="156201"/>
                        </a:lnTo>
                        <a:lnTo>
                          <a:pt x="115033" y="152109"/>
                        </a:lnTo>
                        <a:lnTo>
                          <a:pt x="125259" y="149380"/>
                        </a:lnTo>
                        <a:lnTo>
                          <a:pt x="134845" y="148698"/>
                        </a:lnTo>
                        <a:lnTo>
                          <a:pt x="145070" y="148698"/>
                        </a:lnTo>
                        <a:lnTo>
                          <a:pt x="223037" y="154837"/>
                        </a:lnTo>
                        <a:lnTo>
                          <a:pt x="230067" y="156201"/>
                        </a:lnTo>
                        <a:lnTo>
                          <a:pt x="237736" y="158929"/>
                        </a:lnTo>
                        <a:lnTo>
                          <a:pt x="241571" y="161795"/>
                        </a:lnTo>
                        <a:lnTo>
                          <a:pt x="244126" y="162340"/>
                        </a:lnTo>
                        <a:lnTo>
                          <a:pt x="327206" y="217590"/>
                        </a:lnTo>
                        <a:lnTo>
                          <a:pt x="377693" y="200538"/>
                        </a:lnTo>
                        <a:lnTo>
                          <a:pt x="383445" y="199173"/>
                        </a:lnTo>
                        <a:lnTo>
                          <a:pt x="387918" y="199173"/>
                        </a:lnTo>
                        <a:lnTo>
                          <a:pt x="393031" y="200538"/>
                        </a:lnTo>
                        <a:lnTo>
                          <a:pt x="398143" y="201902"/>
                        </a:lnTo>
                        <a:lnTo>
                          <a:pt x="401978" y="204630"/>
                        </a:lnTo>
                        <a:lnTo>
                          <a:pt x="405812" y="208041"/>
                        </a:lnTo>
                        <a:lnTo>
                          <a:pt x="409008" y="212815"/>
                        </a:lnTo>
                        <a:lnTo>
                          <a:pt x="411564" y="217590"/>
                        </a:lnTo>
                        <a:lnTo>
                          <a:pt x="412203" y="223047"/>
                        </a:lnTo>
                        <a:lnTo>
                          <a:pt x="412842" y="228503"/>
                        </a:lnTo>
                        <a:lnTo>
                          <a:pt x="412203" y="233960"/>
                        </a:lnTo>
                        <a:lnTo>
                          <a:pt x="410286" y="238735"/>
                        </a:lnTo>
                        <a:lnTo>
                          <a:pt x="407729" y="243510"/>
                        </a:lnTo>
                        <a:lnTo>
                          <a:pt x="405812" y="247602"/>
                        </a:lnTo>
                        <a:lnTo>
                          <a:pt x="401339" y="251013"/>
                        </a:lnTo>
                        <a:lnTo>
                          <a:pt x="397504" y="253741"/>
                        </a:lnTo>
                        <a:lnTo>
                          <a:pt x="329123" y="281707"/>
                        </a:lnTo>
                        <a:lnTo>
                          <a:pt x="325928" y="283071"/>
                        </a:lnTo>
                        <a:lnTo>
                          <a:pt x="322733" y="281707"/>
                        </a:lnTo>
                        <a:lnTo>
                          <a:pt x="266494" y="259880"/>
                        </a:lnTo>
                        <a:lnTo>
                          <a:pt x="263299" y="258516"/>
                        </a:lnTo>
                        <a:lnTo>
                          <a:pt x="261381" y="255787"/>
                        </a:lnTo>
                        <a:lnTo>
                          <a:pt x="260742" y="252377"/>
                        </a:lnTo>
                        <a:lnTo>
                          <a:pt x="261381" y="248284"/>
                        </a:lnTo>
                        <a:lnTo>
                          <a:pt x="263299" y="244874"/>
                        </a:lnTo>
                        <a:lnTo>
                          <a:pt x="265855" y="243510"/>
                        </a:lnTo>
                        <a:lnTo>
                          <a:pt x="269050" y="242145"/>
                        </a:lnTo>
                        <a:lnTo>
                          <a:pt x="272246" y="242145"/>
                        </a:lnTo>
                        <a:lnTo>
                          <a:pt x="325928" y="263290"/>
                        </a:lnTo>
                        <a:lnTo>
                          <a:pt x="390474" y="236006"/>
                        </a:lnTo>
                        <a:lnTo>
                          <a:pt x="393031" y="234642"/>
                        </a:lnTo>
                        <a:lnTo>
                          <a:pt x="394948" y="231914"/>
                        </a:lnTo>
                        <a:lnTo>
                          <a:pt x="395587" y="228503"/>
                        </a:lnTo>
                        <a:lnTo>
                          <a:pt x="394948" y="223729"/>
                        </a:lnTo>
                        <a:lnTo>
                          <a:pt x="393031" y="221000"/>
                        </a:lnTo>
                        <a:lnTo>
                          <a:pt x="389835" y="218954"/>
                        </a:lnTo>
                        <a:lnTo>
                          <a:pt x="386640" y="217590"/>
                        </a:lnTo>
                        <a:lnTo>
                          <a:pt x="383445" y="217590"/>
                        </a:lnTo>
                        <a:lnTo>
                          <a:pt x="329123" y="237371"/>
                        </a:lnTo>
                        <a:lnTo>
                          <a:pt x="324650" y="237371"/>
                        </a:lnTo>
                        <a:lnTo>
                          <a:pt x="321454" y="235324"/>
                        </a:lnTo>
                        <a:lnTo>
                          <a:pt x="258825" y="194722"/>
                        </a:lnTo>
                        <a:lnTo>
                          <a:pt x="258825" y="201219"/>
                        </a:lnTo>
                        <a:lnTo>
                          <a:pt x="246044" y="324679"/>
                        </a:lnTo>
                        <a:lnTo>
                          <a:pt x="320176" y="341049"/>
                        </a:lnTo>
                        <a:lnTo>
                          <a:pt x="329123" y="344459"/>
                        </a:lnTo>
                        <a:lnTo>
                          <a:pt x="338070" y="348552"/>
                        </a:lnTo>
                        <a:lnTo>
                          <a:pt x="345739" y="356055"/>
                        </a:lnTo>
                        <a:lnTo>
                          <a:pt x="348935" y="359465"/>
                        </a:lnTo>
                        <a:lnTo>
                          <a:pt x="351491" y="363558"/>
                        </a:lnTo>
                        <a:lnTo>
                          <a:pt x="354686" y="369015"/>
                        </a:lnTo>
                        <a:lnTo>
                          <a:pt x="355964" y="373107"/>
                        </a:lnTo>
                        <a:lnTo>
                          <a:pt x="357882" y="378564"/>
                        </a:lnTo>
                        <a:lnTo>
                          <a:pt x="358521" y="384021"/>
                        </a:lnTo>
                        <a:lnTo>
                          <a:pt x="360438" y="394252"/>
                        </a:lnTo>
                        <a:lnTo>
                          <a:pt x="359160" y="399709"/>
                        </a:lnTo>
                        <a:lnTo>
                          <a:pt x="358521" y="405166"/>
                        </a:lnTo>
                        <a:lnTo>
                          <a:pt x="342736" y="521804"/>
                        </a:lnTo>
                        <a:lnTo>
                          <a:pt x="401977" y="521804"/>
                        </a:lnTo>
                        <a:lnTo>
                          <a:pt x="401977" y="438589"/>
                        </a:lnTo>
                        <a:lnTo>
                          <a:pt x="403255" y="434496"/>
                        </a:lnTo>
                        <a:lnTo>
                          <a:pt x="404533" y="431086"/>
                        </a:lnTo>
                        <a:lnTo>
                          <a:pt x="407090" y="429722"/>
                        </a:lnTo>
                        <a:lnTo>
                          <a:pt x="411563" y="428357"/>
                        </a:lnTo>
                        <a:lnTo>
                          <a:pt x="646743" y="428357"/>
                        </a:lnTo>
                        <a:lnTo>
                          <a:pt x="646743" y="92766"/>
                        </a:lnTo>
                        <a:lnTo>
                          <a:pt x="638435" y="92766"/>
                        </a:lnTo>
                        <a:lnTo>
                          <a:pt x="635239" y="92084"/>
                        </a:lnTo>
                        <a:lnTo>
                          <a:pt x="631405" y="90720"/>
                        </a:lnTo>
                        <a:lnTo>
                          <a:pt x="630127" y="87991"/>
                        </a:lnTo>
                        <a:lnTo>
                          <a:pt x="629488" y="84581"/>
                        </a:lnTo>
                        <a:lnTo>
                          <a:pt x="630127" y="80488"/>
                        </a:lnTo>
                        <a:lnTo>
                          <a:pt x="631405" y="77078"/>
                        </a:lnTo>
                        <a:lnTo>
                          <a:pt x="635239" y="75714"/>
                        </a:lnTo>
                        <a:lnTo>
                          <a:pt x="638435" y="74349"/>
                        </a:lnTo>
                        <a:lnTo>
                          <a:pt x="671028" y="74349"/>
                        </a:lnTo>
                        <a:lnTo>
                          <a:pt x="629488" y="23874"/>
                        </a:lnTo>
                        <a:lnTo>
                          <a:pt x="587308" y="74349"/>
                        </a:lnTo>
                        <a:lnTo>
                          <a:pt x="602646" y="74349"/>
                        </a:lnTo>
                        <a:lnTo>
                          <a:pt x="606481" y="75714"/>
                        </a:lnTo>
                        <a:lnTo>
                          <a:pt x="609676" y="77078"/>
                        </a:lnTo>
                        <a:lnTo>
                          <a:pt x="610954" y="80488"/>
                        </a:lnTo>
                        <a:lnTo>
                          <a:pt x="612232" y="84581"/>
                        </a:lnTo>
                        <a:lnTo>
                          <a:pt x="612232" y="149380"/>
                        </a:lnTo>
                        <a:lnTo>
                          <a:pt x="610954" y="152790"/>
                        </a:lnTo>
                        <a:lnTo>
                          <a:pt x="609676" y="156201"/>
                        </a:lnTo>
                        <a:lnTo>
                          <a:pt x="606481" y="158247"/>
                        </a:lnTo>
                        <a:lnTo>
                          <a:pt x="602646" y="158929"/>
                        </a:lnTo>
                        <a:lnTo>
                          <a:pt x="599451" y="158247"/>
                        </a:lnTo>
                        <a:lnTo>
                          <a:pt x="596895" y="156201"/>
                        </a:lnTo>
                        <a:lnTo>
                          <a:pt x="595616" y="152790"/>
                        </a:lnTo>
                        <a:lnTo>
                          <a:pt x="594977" y="149380"/>
                        </a:lnTo>
                        <a:lnTo>
                          <a:pt x="594977" y="92766"/>
                        </a:lnTo>
                        <a:lnTo>
                          <a:pt x="568136" y="92766"/>
                        </a:lnTo>
                        <a:lnTo>
                          <a:pt x="565580" y="92766"/>
                        </a:lnTo>
                        <a:lnTo>
                          <a:pt x="563663" y="92084"/>
                        </a:lnTo>
                        <a:lnTo>
                          <a:pt x="561745" y="90720"/>
                        </a:lnTo>
                        <a:lnTo>
                          <a:pt x="559828" y="87991"/>
                        </a:lnTo>
                        <a:lnTo>
                          <a:pt x="559189" y="85263"/>
                        </a:lnTo>
                        <a:lnTo>
                          <a:pt x="559189" y="82534"/>
                        </a:lnTo>
                        <a:lnTo>
                          <a:pt x="559828" y="79806"/>
                        </a:lnTo>
                        <a:lnTo>
                          <a:pt x="561745" y="78442"/>
                        </a:lnTo>
                        <a:lnTo>
                          <a:pt x="622458" y="3412"/>
                        </a:lnTo>
                        <a:lnTo>
                          <a:pt x="625653" y="683"/>
                        </a:lnTo>
                        <a:close/>
                        <a:moveTo>
                          <a:pt x="203369" y="0"/>
                        </a:moveTo>
                        <a:cubicBezTo>
                          <a:pt x="233546" y="0"/>
                          <a:pt x="258010" y="29623"/>
                          <a:pt x="258010" y="66164"/>
                        </a:cubicBezTo>
                        <a:cubicBezTo>
                          <a:pt x="258010" y="102705"/>
                          <a:pt x="233546" y="132328"/>
                          <a:pt x="203369" y="132328"/>
                        </a:cubicBezTo>
                        <a:cubicBezTo>
                          <a:pt x="173192" y="132328"/>
                          <a:pt x="148728" y="102705"/>
                          <a:pt x="148728" y="66164"/>
                        </a:cubicBezTo>
                        <a:cubicBezTo>
                          <a:pt x="148728" y="29623"/>
                          <a:pt x="173192" y="0"/>
                          <a:pt x="203369" y="0"/>
                        </a:cubicBezTo>
                        <a:close/>
                      </a:path>
                    </a:pathLst>
                  </a:custGeom>
                  <a:solidFill>
                    <a:srgbClr val="23417E"/>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grpSp>
            <p:nvGrpSpPr>
              <p:cNvPr id="142" name="Group 141">
                <a:extLst>
                  <a:ext uri="{FF2B5EF4-FFF2-40B4-BE49-F238E27FC236}">
                    <a16:creationId xmlns:a16="http://schemas.microsoft.com/office/drawing/2014/main" id="{7F014C08-54E0-B0D6-71BA-0750E5171B85}"/>
                  </a:ext>
                </a:extLst>
              </p:cNvPr>
              <p:cNvGrpSpPr/>
              <p:nvPr/>
            </p:nvGrpSpPr>
            <p:grpSpPr>
              <a:xfrm rot="10800000">
                <a:off x="5731620" y="2370067"/>
                <a:ext cx="391886" cy="1097280"/>
                <a:chOff x="2284639" y="-1133929"/>
                <a:chExt cx="391886" cy="914400"/>
              </a:xfrm>
            </p:grpSpPr>
            <p:cxnSp>
              <p:nvCxnSpPr>
                <p:cNvPr id="143" name="Straight Connector 142">
                  <a:extLst>
                    <a:ext uri="{FF2B5EF4-FFF2-40B4-BE49-F238E27FC236}">
                      <a16:creationId xmlns:a16="http://schemas.microsoft.com/office/drawing/2014/main" id="{76851E20-A378-7BC9-D2F8-7E86BDD0AB3B}"/>
                    </a:ext>
                  </a:extLst>
                </p:cNvPr>
                <p:cNvCxnSpPr>
                  <a:cxnSpLocks/>
                </p:cNvCxnSpPr>
                <p:nvPr/>
              </p:nvCxnSpPr>
              <p:spPr>
                <a:xfrm>
                  <a:off x="2284639" y="-1133929"/>
                  <a:ext cx="0" cy="914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243492D1-EA47-06AA-6F64-F71930EC8D0C}"/>
                    </a:ext>
                  </a:extLst>
                </p:cNvPr>
                <p:cNvCxnSpPr>
                  <a:cxnSpLocks/>
                </p:cNvCxnSpPr>
                <p:nvPr/>
              </p:nvCxnSpPr>
              <p:spPr>
                <a:xfrm>
                  <a:off x="2284639" y="-676729"/>
                  <a:ext cx="391886" cy="0"/>
                </a:xfrm>
                <a:prstGeom prst="line">
                  <a:avLst/>
                </a:prstGeom>
                <a:ln>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grpSp>
      <p:grpSp>
        <p:nvGrpSpPr>
          <p:cNvPr id="36" name="Group 35">
            <a:extLst>
              <a:ext uri="{FF2B5EF4-FFF2-40B4-BE49-F238E27FC236}">
                <a16:creationId xmlns:a16="http://schemas.microsoft.com/office/drawing/2014/main" id="{1A37AAED-8DBD-F145-E42D-B4904FF9125E}"/>
              </a:ext>
            </a:extLst>
          </p:cNvPr>
          <p:cNvGrpSpPr/>
          <p:nvPr/>
        </p:nvGrpSpPr>
        <p:grpSpPr>
          <a:xfrm>
            <a:off x="4994234" y="4783765"/>
            <a:ext cx="6929535" cy="1188720"/>
            <a:chOff x="4994234" y="4939406"/>
            <a:chExt cx="6929535" cy="1188720"/>
          </a:xfrm>
        </p:grpSpPr>
        <p:sp>
          <p:nvSpPr>
            <p:cNvPr id="115" name="Textbox">
              <a:extLst>
                <a:ext uri="{FF2B5EF4-FFF2-40B4-BE49-F238E27FC236}">
                  <a16:creationId xmlns:a16="http://schemas.microsoft.com/office/drawing/2014/main" id="{48D4F2F6-1910-4F07-FA14-83CBA912B77F}"/>
                </a:ext>
              </a:extLst>
            </p:cNvPr>
            <p:cNvSpPr txBox="1">
              <a:spLocks/>
            </p:cNvSpPr>
            <p:nvPr/>
          </p:nvSpPr>
          <p:spPr>
            <a:xfrm>
              <a:off x="6419850" y="4939406"/>
              <a:ext cx="5503919" cy="118872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3600" b="1"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High-Speed Rail service fare structure </a:t>
              </a:r>
              <a:r>
                <a:rPr kumimoji="0" lang="en-US" sz="2200" b="0" i="1"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will be fully integrated with San Joaquins and ACE services</a:t>
              </a:r>
              <a:endParaRPr kumimoji="0" lang="en-US" sz="2200" b="1" i="1"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nvGrpSpPr>
            <p:cNvPr id="26" name="Group 25">
              <a:extLst>
                <a:ext uri="{FF2B5EF4-FFF2-40B4-BE49-F238E27FC236}">
                  <a16:creationId xmlns:a16="http://schemas.microsoft.com/office/drawing/2014/main" id="{49A911DF-6EFC-13B6-E77C-208F9FA8FC3D}"/>
                </a:ext>
              </a:extLst>
            </p:cNvPr>
            <p:cNvGrpSpPr/>
            <p:nvPr/>
          </p:nvGrpSpPr>
          <p:grpSpPr>
            <a:xfrm>
              <a:off x="4994234" y="4985126"/>
              <a:ext cx="1129272" cy="1097280"/>
              <a:chOff x="4994234" y="4939406"/>
              <a:chExt cx="1129272" cy="1097280"/>
            </a:xfrm>
          </p:grpSpPr>
          <p:grpSp>
            <p:nvGrpSpPr>
              <p:cNvPr id="126" name="Group 125">
                <a:extLst>
                  <a:ext uri="{FF2B5EF4-FFF2-40B4-BE49-F238E27FC236}">
                    <a16:creationId xmlns:a16="http://schemas.microsoft.com/office/drawing/2014/main" id="{0E75ACE6-A2B4-D470-79C6-FC107307AFE9}"/>
                  </a:ext>
                </a:extLst>
              </p:cNvPr>
              <p:cNvGrpSpPr/>
              <p:nvPr/>
            </p:nvGrpSpPr>
            <p:grpSpPr>
              <a:xfrm>
                <a:off x="4994234" y="5122286"/>
                <a:ext cx="731520" cy="731520"/>
                <a:chOff x="5305004" y="5013746"/>
                <a:chExt cx="731520" cy="731520"/>
              </a:xfrm>
            </p:grpSpPr>
            <p:sp>
              <p:nvSpPr>
                <p:cNvPr id="121" name="Oval 120">
                  <a:extLst>
                    <a:ext uri="{FF2B5EF4-FFF2-40B4-BE49-F238E27FC236}">
                      <a16:creationId xmlns:a16="http://schemas.microsoft.com/office/drawing/2014/main" id="{C1EDE3AD-63DE-C5C8-A546-98D65250CD3E}"/>
                    </a:ext>
                  </a:extLst>
                </p:cNvPr>
                <p:cNvSpPr/>
                <p:nvPr/>
              </p:nvSpPr>
              <p:spPr>
                <a:xfrm>
                  <a:off x="5305004" y="5013746"/>
                  <a:ext cx="731520" cy="731520"/>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122" name="Textplatzhalter 6">
                  <a:extLst>
                    <a:ext uri="{FF2B5EF4-FFF2-40B4-BE49-F238E27FC236}">
                      <a16:creationId xmlns:a16="http://schemas.microsoft.com/office/drawing/2014/main" id="{4351BB32-AF41-A824-94BA-F8420E19C63F}"/>
                    </a:ext>
                  </a:extLst>
                </p:cNvPr>
                <p:cNvSpPr txBox="1">
                  <a:spLocks/>
                </p:cNvSpPr>
                <p:nvPr/>
              </p:nvSpPr>
              <p:spPr>
                <a:xfrm>
                  <a:off x="5526451" y="5584024"/>
                  <a:ext cx="288627" cy="28757"/>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nvGrpSpPr>
                <p:cNvPr id="123" name="easyIcon">
                  <a:extLst>
                    <a:ext uri="{FF2B5EF4-FFF2-40B4-BE49-F238E27FC236}">
                      <a16:creationId xmlns:a16="http://schemas.microsoft.com/office/drawing/2014/main" id="{18CE1F73-87F8-35C1-B81E-099CCB73C33D}"/>
                    </a:ext>
                  </a:extLst>
                </p:cNvPr>
                <p:cNvGrpSpPr>
                  <a:grpSpLocks noChangeAspect="1"/>
                </p:cNvGrpSpPr>
                <p:nvPr>
                  <p:custDataLst>
                    <p:tags r:id="rId3"/>
                  </p:custDataLst>
                </p:nvPr>
              </p:nvGrpSpPr>
              <p:grpSpPr>
                <a:xfrm>
                  <a:off x="5429170" y="5118286"/>
                  <a:ext cx="483188" cy="483188"/>
                  <a:chOff x="8576159" y="1396340"/>
                  <a:chExt cx="714052" cy="714052"/>
                </a:xfrm>
              </p:grpSpPr>
              <p:sp>
                <p:nvSpPr>
                  <p:cNvPr id="124" name="Background">
                    <a:extLst>
                      <a:ext uri="{FF2B5EF4-FFF2-40B4-BE49-F238E27FC236}">
                        <a16:creationId xmlns:a16="http://schemas.microsoft.com/office/drawing/2014/main" id="{173B07C9-D4BC-58DB-70D8-368F3E6E287C}"/>
                      </a:ext>
                    </a:extLst>
                  </p:cNvPr>
                  <p:cNvSpPr/>
                  <p:nvPr/>
                </p:nvSpPr>
                <p:spPr>
                  <a:xfrm>
                    <a:off x="8576159" y="1396340"/>
                    <a:ext cx="714052" cy="714052"/>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125" name="Vector">
                    <a:extLst>
                      <a:ext uri="{FF2B5EF4-FFF2-40B4-BE49-F238E27FC236}">
                        <a16:creationId xmlns:a16="http://schemas.microsoft.com/office/drawing/2014/main" id="{6D6462D3-5A35-87ED-A7DD-96B6EFD09B06}"/>
                      </a:ext>
                    </a:extLst>
                  </p:cNvPr>
                  <p:cNvSpPr>
                    <a:spLocks noChangeAspect="1"/>
                  </p:cNvSpPr>
                  <p:nvPr/>
                </p:nvSpPr>
                <p:spPr bwMode="gray">
                  <a:xfrm>
                    <a:off x="8645185" y="1497098"/>
                    <a:ext cx="576001" cy="512536"/>
                  </a:xfrm>
                  <a:custGeom>
                    <a:avLst/>
                    <a:gdLst>
                      <a:gd name="connsiteX0" fmla="*/ 375568 w 699148"/>
                      <a:gd name="connsiteY0" fmla="*/ 262181 h 622115"/>
                      <a:gd name="connsiteX1" fmla="*/ 375568 w 699148"/>
                      <a:gd name="connsiteY1" fmla="*/ 362760 h 622115"/>
                      <a:gd name="connsiteX2" fmla="*/ 400248 w 699148"/>
                      <a:gd name="connsiteY2" fmla="*/ 362760 h 622115"/>
                      <a:gd name="connsiteX3" fmla="*/ 400248 w 699148"/>
                      <a:gd name="connsiteY3" fmla="*/ 262181 h 622115"/>
                      <a:gd name="connsiteX4" fmla="*/ 375568 w 699148"/>
                      <a:gd name="connsiteY4" fmla="*/ 262181 h 622115"/>
                      <a:gd name="connsiteX5" fmla="*/ 225965 w 699148"/>
                      <a:gd name="connsiteY5" fmla="*/ 180926 h 622115"/>
                      <a:gd name="connsiteX6" fmla="*/ 225965 w 699148"/>
                      <a:gd name="connsiteY6" fmla="*/ 444015 h 622115"/>
                      <a:gd name="connsiteX7" fmla="*/ 291894 w 699148"/>
                      <a:gd name="connsiteY7" fmla="*/ 509945 h 622115"/>
                      <a:gd name="connsiteX8" fmla="*/ 407254 w 699148"/>
                      <a:gd name="connsiteY8" fmla="*/ 509945 h 622115"/>
                      <a:gd name="connsiteX9" fmla="*/ 473183 w 699148"/>
                      <a:gd name="connsiteY9" fmla="*/ 444015 h 622115"/>
                      <a:gd name="connsiteX10" fmla="*/ 473183 w 699148"/>
                      <a:gd name="connsiteY10" fmla="*/ 180926 h 622115"/>
                      <a:gd name="connsiteX11" fmla="*/ 407254 w 699148"/>
                      <a:gd name="connsiteY11" fmla="*/ 115010 h 622115"/>
                      <a:gd name="connsiteX12" fmla="*/ 291894 w 699148"/>
                      <a:gd name="connsiteY12" fmla="*/ 115010 h 622115"/>
                      <a:gd name="connsiteX13" fmla="*/ 225965 w 699148"/>
                      <a:gd name="connsiteY13" fmla="*/ 180926 h 622115"/>
                      <a:gd name="connsiteX14" fmla="*/ 448489 w 699148"/>
                      <a:gd name="connsiteY14" fmla="*/ 180926 h 622115"/>
                      <a:gd name="connsiteX15" fmla="*/ 448489 w 699148"/>
                      <a:gd name="connsiteY15" fmla="*/ 444015 h 622115"/>
                      <a:gd name="connsiteX16" fmla="*/ 407254 w 699148"/>
                      <a:gd name="connsiteY16" fmla="*/ 485237 h 622115"/>
                      <a:gd name="connsiteX17" fmla="*/ 291894 w 699148"/>
                      <a:gd name="connsiteY17" fmla="*/ 485237 h 622115"/>
                      <a:gd name="connsiteX18" fmla="*/ 250659 w 699148"/>
                      <a:gd name="connsiteY18" fmla="*/ 444015 h 622115"/>
                      <a:gd name="connsiteX19" fmla="*/ 250659 w 699148"/>
                      <a:gd name="connsiteY19" fmla="*/ 180926 h 622115"/>
                      <a:gd name="connsiteX20" fmla="*/ 291894 w 699148"/>
                      <a:gd name="connsiteY20" fmla="*/ 139690 h 622115"/>
                      <a:gd name="connsiteX21" fmla="*/ 407254 w 699148"/>
                      <a:gd name="connsiteY21" fmla="*/ 139690 h 622115"/>
                      <a:gd name="connsiteX22" fmla="*/ 448489 w 699148"/>
                      <a:gd name="connsiteY22" fmla="*/ 180926 h 622115"/>
                      <a:gd name="connsiteX23" fmla="*/ 143689 w 699148"/>
                      <a:gd name="connsiteY23" fmla="*/ 103698 h 622115"/>
                      <a:gd name="connsiteX24" fmla="*/ 143689 w 699148"/>
                      <a:gd name="connsiteY24" fmla="*/ 517342 h 622115"/>
                      <a:gd name="connsiteX25" fmla="*/ 164929 w 699148"/>
                      <a:gd name="connsiteY25" fmla="*/ 541406 h 622115"/>
                      <a:gd name="connsiteX26" fmla="*/ 224413 w 699148"/>
                      <a:gd name="connsiteY26" fmla="*/ 600876 h 622115"/>
                      <a:gd name="connsiteX27" fmla="*/ 248477 w 699148"/>
                      <a:gd name="connsiteY27" fmla="*/ 622116 h 622115"/>
                      <a:gd name="connsiteX28" fmla="*/ 450685 w 699148"/>
                      <a:gd name="connsiteY28" fmla="*/ 622116 h 622115"/>
                      <a:gd name="connsiteX29" fmla="*/ 474749 w 699148"/>
                      <a:gd name="connsiteY29" fmla="*/ 600876 h 622115"/>
                      <a:gd name="connsiteX30" fmla="*/ 534219 w 699148"/>
                      <a:gd name="connsiteY30" fmla="*/ 541406 h 622115"/>
                      <a:gd name="connsiteX31" fmla="*/ 555459 w 699148"/>
                      <a:gd name="connsiteY31" fmla="*/ 517342 h 622115"/>
                      <a:gd name="connsiteX32" fmla="*/ 555459 w 699148"/>
                      <a:gd name="connsiteY32" fmla="*/ 103698 h 622115"/>
                      <a:gd name="connsiteX33" fmla="*/ 614397 w 699148"/>
                      <a:gd name="connsiteY33" fmla="*/ 103698 h 622115"/>
                      <a:gd name="connsiteX34" fmla="*/ 626758 w 699148"/>
                      <a:gd name="connsiteY34" fmla="*/ 91351 h 622115"/>
                      <a:gd name="connsiteX35" fmla="*/ 614397 w 699148"/>
                      <a:gd name="connsiteY35" fmla="*/ 79004 h 622115"/>
                      <a:gd name="connsiteX36" fmla="*/ 84751 w 699148"/>
                      <a:gd name="connsiteY36" fmla="*/ 79004 h 622115"/>
                      <a:gd name="connsiteX37" fmla="*/ 72404 w 699148"/>
                      <a:gd name="connsiteY37" fmla="*/ 91351 h 622115"/>
                      <a:gd name="connsiteX38" fmla="*/ 84751 w 699148"/>
                      <a:gd name="connsiteY38" fmla="*/ 103698 h 622115"/>
                      <a:gd name="connsiteX39" fmla="*/ 143689 w 699148"/>
                      <a:gd name="connsiteY39" fmla="*/ 103698 h 622115"/>
                      <a:gd name="connsiteX40" fmla="*/ 530765 w 699148"/>
                      <a:gd name="connsiteY40" fmla="*/ 103698 h 622115"/>
                      <a:gd name="connsiteX41" fmla="*/ 530765 w 699148"/>
                      <a:gd name="connsiteY41" fmla="*/ 517048 h 622115"/>
                      <a:gd name="connsiteX42" fmla="*/ 450377 w 699148"/>
                      <a:gd name="connsiteY42" fmla="*/ 597436 h 622115"/>
                      <a:gd name="connsiteX43" fmla="*/ 248771 w 699148"/>
                      <a:gd name="connsiteY43" fmla="*/ 597436 h 622115"/>
                      <a:gd name="connsiteX44" fmla="*/ 168397 w 699148"/>
                      <a:gd name="connsiteY44" fmla="*/ 517048 h 622115"/>
                      <a:gd name="connsiteX45" fmla="*/ 168397 w 699148"/>
                      <a:gd name="connsiteY45" fmla="*/ 103698 h 622115"/>
                      <a:gd name="connsiteX46" fmla="*/ 530765 w 699148"/>
                      <a:gd name="connsiteY46" fmla="*/ 103698 h 622115"/>
                      <a:gd name="connsiteX47" fmla="*/ 588767 w 699148"/>
                      <a:gd name="connsiteY47" fmla="*/ 182673 h 622115"/>
                      <a:gd name="connsiteX48" fmla="*/ 686801 w 699148"/>
                      <a:gd name="connsiteY48" fmla="*/ 182687 h 622115"/>
                      <a:gd name="connsiteX49" fmla="*/ 699148 w 699148"/>
                      <a:gd name="connsiteY49" fmla="*/ 170340 h 622115"/>
                      <a:gd name="connsiteX50" fmla="*/ 699148 w 699148"/>
                      <a:gd name="connsiteY50" fmla="*/ 12347 h 622115"/>
                      <a:gd name="connsiteX51" fmla="*/ 686801 w 699148"/>
                      <a:gd name="connsiteY51" fmla="*/ 0 h 622115"/>
                      <a:gd name="connsiteX52" fmla="*/ 12347 w 699148"/>
                      <a:gd name="connsiteY52" fmla="*/ 0 h 622115"/>
                      <a:gd name="connsiteX53" fmla="*/ 0 w 699148"/>
                      <a:gd name="connsiteY53" fmla="*/ 12347 h 622115"/>
                      <a:gd name="connsiteX54" fmla="*/ 0 w 699148"/>
                      <a:gd name="connsiteY54" fmla="*/ 170326 h 622115"/>
                      <a:gd name="connsiteX55" fmla="*/ 12347 w 699148"/>
                      <a:gd name="connsiteY55" fmla="*/ 182673 h 622115"/>
                      <a:gd name="connsiteX56" fmla="*/ 110381 w 699148"/>
                      <a:gd name="connsiteY56" fmla="*/ 182659 h 622115"/>
                      <a:gd name="connsiteX57" fmla="*/ 122728 w 699148"/>
                      <a:gd name="connsiteY57" fmla="*/ 170312 h 622115"/>
                      <a:gd name="connsiteX58" fmla="*/ 110381 w 699148"/>
                      <a:gd name="connsiteY58" fmla="*/ 157966 h 622115"/>
                      <a:gd name="connsiteX59" fmla="*/ 24694 w 699148"/>
                      <a:gd name="connsiteY59" fmla="*/ 157966 h 622115"/>
                      <a:gd name="connsiteX60" fmla="*/ 24694 w 699148"/>
                      <a:gd name="connsiteY60" fmla="*/ 24694 h 622115"/>
                      <a:gd name="connsiteX61" fmla="*/ 674454 w 699148"/>
                      <a:gd name="connsiteY61" fmla="*/ 24694 h 622115"/>
                      <a:gd name="connsiteX62" fmla="*/ 674454 w 699148"/>
                      <a:gd name="connsiteY62" fmla="*/ 157979 h 622115"/>
                      <a:gd name="connsiteX63" fmla="*/ 588767 w 699148"/>
                      <a:gd name="connsiteY63" fmla="*/ 157979 h 622115"/>
                      <a:gd name="connsiteX64" fmla="*/ 576420 w 699148"/>
                      <a:gd name="connsiteY64" fmla="*/ 170326 h 622115"/>
                      <a:gd name="connsiteX65" fmla="*/ 588767 w 699148"/>
                      <a:gd name="connsiteY65" fmla="*/ 182673 h 622115"/>
                      <a:gd name="connsiteX66" fmla="*/ 323580 w 699148"/>
                      <a:gd name="connsiteY66" fmla="*/ 408568 h 622115"/>
                      <a:gd name="connsiteX67" fmla="*/ 323580 w 699148"/>
                      <a:gd name="connsiteY67" fmla="*/ 216358 h 622115"/>
                      <a:gd name="connsiteX68" fmla="*/ 298900 w 699148"/>
                      <a:gd name="connsiteY68" fmla="*/ 216358 h 622115"/>
                      <a:gd name="connsiteX69" fmla="*/ 298900 w 699148"/>
                      <a:gd name="connsiteY69" fmla="*/ 408568 h 622115"/>
                      <a:gd name="connsiteX70" fmla="*/ 323580 w 699148"/>
                      <a:gd name="connsiteY70" fmla="*/ 408568 h 62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99148" h="622115">
                        <a:moveTo>
                          <a:pt x="375568" y="262181"/>
                        </a:moveTo>
                        <a:lnTo>
                          <a:pt x="375568" y="362760"/>
                        </a:lnTo>
                        <a:cubicBezTo>
                          <a:pt x="375568" y="378449"/>
                          <a:pt x="400248" y="378533"/>
                          <a:pt x="400248" y="362760"/>
                        </a:cubicBezTo>
                        <a:lnTo>
                          <a:pt x="400248" y="262181"/>
                        </a:lnTo>
                        <a:cubicBezTo>
                          <a:pt x="400248" y="246394"/>
                          <a:pt x="375568" y="246478"/>
                          <a:pt x="375568" y="262181"/>
                        </a:cubicBezTo>
                        <a:moveTo>
                          <a:pt x="225965" y="180926"/>
                        </a:moveTo>
                        <a:lnTo>
                          <a:pt x="225965" y="444015"/>
                        </a:lnTo>
                        <a:cubicBezTo>
                          <a:pt x="225965" y="480273"/>
                          <a:pt x="255636" y="509945"/>
                          <a:pt x="291894" y="509945"/>
                        </a:cubicBezTo>
                        <a:lnTo>
                          <a:pt x="407254" y="509945"/>
                        </a:lnTo>
                        <a:cubicBezTo>
                          <a:pt x="443512" y="509945"/>
                          <a:pt x="473183" y="480273"/>
                          <a:pt x="473183" y="444015"/>
                        </a:cubicBezTo>
                        <a:lnTo>
                          <a:pt x="473183" y="180926"/>
                        </a:lnTo>
                        <a:cubicBezTo>
                          <a:pt x="473183" y="144668"/>
                          <a:pt x="443512" y="115010"/>
                          <a:pt x="407254" y="115010"/>
                        </a:cubicBezTo>
                        <a:lnTo>
                          <a:pt x="291894" y="115010"/>
                        </a:lnTo>
                        <a:cubicBezTo>
                          <a:pt x="255636" y="114996"/>
                          <a:pt x="225965" y="144654"/>
                          <a:pt x="225965" y="180926"/>
                        </a:cubicBezTo>
                        <a:close/>
                        <a:moveTo>
                          <a:pt x="448489" y="180926"/>
                        </a:moveTo>
                        <a:lnTo>
                          <a:pt x="448489" y="444015"/>
                        </a:lnTo>
                        <a:cubicBezTo>
                          <a:pt x="448489" y="466779"/>
                          <a:pt x="430032" y="485237"/>
                          <a:pt x="407254" y="485237"/>
                        </a:cubicBezTo>
                        <a:lnTo>
                          <a:pt x="291894" y="485237"/>
                        </a:lnTo>
                        <a:cubicBezTo>
                          <a:pt x="269130" y="485237"/>
                          <a:pt x="250659" y="466779"/>
                          <a:pt x="250659" y="444015"/>
                        </a:cubicBezTo>
                        <a:lnTo>
                          <a:pt x="250659" y="180926"/>
                        </a:lnTo>
                        <a:cubicBezTo>
                          <a:pt x="250659" y="158175"/>
                          <a:pt x="269144" y="139690"/>
                          <a:pt x="291894" y="139690"/>
                        </a:cubicBezTo>
                        <a:lnTo>
                          <a:pt x="407254" y="139690"/>
                        </a:lnTo>
                        <a:cubicBezTo>
                          <a:pt x="430004" y="139690"/>
                          <a:pt x="448489" y="158175"/>
                          <a:pt x="448489" y="180926"/>
                        </a:cubicBezTo>
                        <a:close/>
                        <a:moveTo>
                          <a:pt x="143689" y="103698"/>
                        </a:moveTo>
                        <a:lnTo>
                          <a:pt x="143689" y="517342"/>
                        </a:lnTo>
                        <a:cubicBezTo>
                          <a:pt x="143689" y="529577"/>
                          <a:pt x="152806" y="539868"/>
                          <a:pt x="164929" y="541406"/>
                        </a:cubicBezTo>
                        <a:cubicBezTo>
                          <a:pt x="195747" y="545349"/>
                          <a:pt x="220455" y="570057"/>
                          <a:pt x="224413" y="600876"/>
                        </a:cubicBezTo>
                        <a:cubicBezTo>
                          <a:pt x="225951" y="612999"/>
                          <a:pt x="236242" y="622116"/>
                          <a:pt x="248477" y="622116"/>
                        </a:cubicBezTo>
                        <a:lnTo>
                          <a:pt x="450685" y="622116"/>
                        </a:lnTo>
                        <a:cubicBezTo>
                          <a:pt x="462920" y="622116"/>
                          <a:pt x="473211" y="613013"/>
                          <a:pt x="474749" y="600876"/>
                        </a:cubicBezTo>
                        <a:cubicBezTo>
                          <a:pt x="478707" y="570057"/>
                          <a:pt x="503401" y="545349"/>
                          <a:pt x="534219" y="541406"/>
                        </a:cubicBezTo>
                        <a:cubicBezTo>
                          <a:pt x="546328" y="539868"/>
                          <a:pt x="555459" y="529549"/>
                          <a:pt x="555459" y="517342"/>
                        </a:cubicBezTo>
                        <a:lnTo>
                          <a:pt x="555459" y="103698"/>
                        </a:lnTo>
                        <a:lnTo>
                          <a:pt x="614397" y="103698"/>
                        </a:lnTo>
                        <a:cubicBezTo>
                          <a:pt x="621221" y="103698"/>
                          <a:pt x="626758" y="98174"/>
                          <a:pt x="626758" y="91351"/>
                        </a:cubicBezTo>
                        <a:cubicBezTo>
                          <a:pt x="626758" y="84527"/>
                          <a:pt x="621221" y="79004"/>
                          <a:pt x="614397" y="79004"/>
                        </a:cubicBezTo>
                        <a:lnTo>
                          <a:pt x="84751" y="79004"/>
                        </a:lnTo>
                        <a:cubicBezTo>
                          <a:pt x="77927" y="79004"/>
                          <a:pt x="72404" y="84527"/>
                          <a:pt x="72404" y="91351"/>
                        </a:cubicBezTo>
                        <a:cubicBezTo>
                          <a:pt x="72404" y="98174"/>
                          <a:pt x="77941" y="103698"/>
                          <a:pt x="84751" y="103698"/>
                        </a:cubicBezTo>
                        <a:lnTo>
                          <a:pt x="143689" y="103698"/>
                        </a:lnTo>
                        <a:close/>
                        <a:moveTo>
                          <a:pt x="530765" y="103698"/>
                        </a:moveTo>
                        <a:lnTo>
                          <a:pt x="530765" y="517048"/>
                        </a:lnTo>
                        <a:cubicBezTo>
                          <a:pt x="488886" y="522585"/>
                          <a:pt x="455928" y="555557"/>
                          <a:pt x="450377" y="597436"/>
                        </a:cubicBezTo>
                        <a:lnTo>
                          <a:pt x="248771" y="597436"/>
                        </a:lnTo>
                        <a:cubicBezTo>
                          <a:pt x="243248" y="555557"/>
                          <a:pt x="210262" y="522585"/>
                          <a:pt x="168397" y="517048"/>
                        </a:cubicBezTo>
                        <a:lnTo>
                          <a:pt x="168397" y="103698"/>
                        </a:lnTo>
                        <a:lnTo>
                          <a:pt x="530765" y="103698"/>
                        </a:lnTo>
                        <a:close/>
                        <a:moveTo>
                          <a:pt x="588767" y="182673"/>
                        </a:moveTo>
                        <a:lnTo>
                          <a:pt x="686801" y="182687"/>
                        </a:lnTo>
                        <a:cubicBezTo>
                          <a:pt x="693625" y="182687"/>
                          <a:pt x="699148" y="177150"/>
                          <a:pt x="699148" y="170340"/>
                        </a:cubicBezTo>
                        <a:lnTo>
                          <a:pt x="699148" y="12347"/>
                        </a:lnTo>
                        <a:cubicBezTo>
                          <a:pt x="699148" y="5537"/>
                          <a:pt x="693625" y="0"/>
                          <a:pt x="686801" y="0"/>
                        </a:cubicBezTo>
                        <a:lnTo>
                          <a:pt x="12347" y="0"/>
                        </a:lnTo>
                        <a:cubicBezTo>
                          <a:pt x="5523" y="0"/>
                          <a:pt x="0" y="5537"/>
                          <a:pt x="0" y="12347"/>
                        </a:cubicBezTo>
                        <a:lnTo>
                          <a:pt x="0" y="170326"/>
                        </a:lnTo>
                        <a:cubicBezTo>
                          <a:pt x="0" y="177150"/>
                          <a:pt x="5523" y="182673"/>
                          <a:pt x="12347" y="182673"/>
                        </a:cubicBezTo>
                        <a:lnTo>
                          <a:pt x="110381" y="182659"/>
                        </a:lnTo>
                        <a:cubicBezTo>
                          <a:pt x="117205" y="182659"/>
                          <a:pt x="122728" y="177136"/>
                          <a:pt x="122728" y="170312"/>
                        </a:cubicBezTo>
                        <a:cubicBezTo>
                          <a:pt x="122728" y="163489"/>
                          <a:pt x="117191" y="157966"/>
                          <a:pt x="110381" y="157966"/>
                        </a:cubicBezTo>
                        <a:lnTo>
                          <a:pt x="24694" y="157966"/>
                        </a:lnTo>
                        <a:lnTo>
                          <a:pt x="24694" y="24694"/>
                        </a:lnTo>
                        <a:lnTo>
                          <a:pt x="674454" y="24694"/>
                        </a:lnTo>
                        <a:lnTo>
                          <a:pt x="674454" y="157979"/>
                        </a:lnTo>
                        <a:lnTo>
                          <a:pt x="588767" y="157979"/>
                        </a:lnTo>
                        <a:cubicBezTo>
                          <a:pt x="581957" y="157979"/>
                          <a:pt x="576420" y="163503"/>
                          <a:pt x="576420" y="170326"/>
                        </a:cubicBezTo>
                        <a:cubicBezTo>
                          <a:pt x="576420" y="177150"/>
                          <a:pt x="581957" y="182673"/>
                          <a:pt x="588767" y="182673"/>
                        </a:cubicBezTo>
                        <a:close/>
                        <a:moveTo>
                          <a:pt x="323580" y="408568"/>
                        </a:moveTo>
                        <a:lnTo>
                          <a:pt x="323580" y="216358"/>
                        </a:lnTo>
                        <a:cubicBezTo>
                          <a:pt x="323580" y="200586"/>
                          <a:pt x="298900" y="200655"/>
                          <a:pt x="298900" y="216358"/>
                        </a:cubicBezTo>
                        <a:lnTo>
                          <a:pt x="298900" y="408568"/>
                        </a:lnTo>
                        <a:cubicBezTo>
                          <a:pt x="298900" y="424271"/>
                          <a:pt x="323580" y="424341"/>
                          <a:pt x="323580" y="408568"/>
                        </a:cubicBezTo>
                        <a:close/>
                      </a:path>
                    </a:pathLst>
                  </a:custGeom>
                  <a:solidFill>
                    <a:srgbClr val="23417E"/>
                  </a:solidFill>
                  <a:ln w="1390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grpSp>
            <p:nvGrpSpPr>
              <p:cNvPr id="148" name="Group 147">
                <a:extLst>
                  <a:ext uri="{FF2B5EF4-FFF2-40B4-BE49-F238E27FC236}">
                    <a16:creationId xmlns:a16="http://schemas.microsoft.com/office/drawing/2014/main" id="{2BDBA47A-990D-5FD9-3129-752AF4F66F4D}"/>
                  </a:ext>
                </a:extLst>
              </p:cNvPr>
              <p:cNvGrpSpPr/>
              <p:nvPr/>
            </p:nvGrpSpPr>
            <p:grpSpPr>
              <a:xfrm rot="10800000">
                <a:off x="5731620" y="4939406"/>
                <a:ext cx="391886" cy="1097280"/>
                <a:chOff x="2284639" y="-1133929"/>
                <a:chExt cx="391886" cy="914400"/>
              </a:xfrm>
            </p:grpSpPr>
            <p:cxnSp>
              <p:nvCxnSpPr>
                <p:cNvPr id="149" name="Straight Connector 148">
                  <a:extLst>
                    <a:ext uri="{FF2B5EF4-FFF2-40B4-BE49-F238E27FC236}">
                      <a16:creationId xmlns:a16="http://schemas.microsoft.com/office/drawing/2014/main" id="{AEB0A447-3895-5EE8-4A18-35E53B4113D5}"/>
                    </a:ext>
                  </a:extLst>
                </p:cNvPr>
                <p:cNvCxnSpPr>
                  <a:cxnSpLocks/>
                </p:cNvCxnSpPr>
                <p:nvPr/>
              </p:nvCxnSpPr>
              <p:spPr>
                <a:xfrm>
                  <a:off x="2284639" y="-1133929"/>
                  <a:ext cx="0" cy="914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F9BCB61-D2F6-3B44-F19E-0B0A919F74BD}"/>
                    </a:ext>
                  </a:extLst>
                </p:cNvPr>
                <p:cNvCxnSpPr>
                  <a:cxnSpLocks/>
                </p:cNvCxnSpPr>
                <p:nvPr/>
              </p:nvCxnSpPr>
              <p:spPr>
                <a:xfrm>
                  <a:off x="2284639" y="-676729"/>
                  <a:ext cx="391886" cy="0"/>
                </a:xfrm>
                <a:prstGeom prst="line">
                  <a:avLst/>
                </a:prstGeom>
                <a:ln>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2028865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65999D-E3F2-97C8-4BC5-C6BCEF04FB51}"/>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4A734B9-66A0-FA6B-5B1C-5C42C17BD2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0" imgW="484" imgH="486" progId="TCLayout.ActiveDocument.1">
                  <p:embed/>
                </p:oleObj>
              </mc:Choice>
              <mc:Fallback>
                <p:oleObj name="think-cell Slide" r:id="rId10" imgW="484" imgH="486" progId="TCLayout.ActiveDocument.1">
                  <p:embed/>
                  <p:pic>
                    <p:nvPicPr>
                      <p:cNvPr id="12" name="think-cell data - do not delete" hidden="1">
                        <a:extLst>
                          <a:ext uri="{FF2B5EF4-FFF2-40B4-BE49-F238E27FC236}">
                            <a16:creationId xmlns:a16="http://schemas.microsoft.com/office/drawing/2014/main" id="{A4A734B9-66A0-FA6B-5B1C-5C42C17BD23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15E6D475-5C6E-0698-BF19-C51CFE9341DB}"/>
              </a:ext>
            </a:extLst>
          </p:cNvPr>
          <p:cNvSpPr/>
          <p:nvPr/>
        </p:nvSpPr>
        <p:spPr>
          <a:xfrm>
            <a:off x="6335918" y="1574831"/>
            <a:ext cx="5495885" cy="4713060"/>
          </a:xfrm>
          <a:prstGeom prst="rect">
            <a:avLst/>
          </a:prstGeom>
          <a:solidFill>
            <a:schemeClr val="bg1">
              <a:lumMod val="95000"/>
              <a:alpha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24000" tIns="180000" rIns="72000" bIns="72000" rtlCol="0" anchor="t"/>
          <a:lstStyle/>
          <a:p>
            <a:pPr marL="0" marR="0" lvl="0" indent="0" algn="l" defTabSz="914400" rtl="0" eaLnBrk="1" fontAlgn="auto" latinLnBrk="0" hangingPunct="1">
              <a:lnSpc>
                <a:spcPct val="100000"/>
              </a:lnSpc>
              <a:spcBef>
                <a:spcPts val="0"/>
              </a:spcBef>
              <a:spcAft>
                <a:spcPts val="0"/>
              </a:spcAft>
              <a:buClr>
                <a:srgbClr val="039CDC"/>
              </a:buClr>
              <a:buSzTx/>
              <a:buFontTx/>
              <a:buNone/>
              <a:tabLst/>
              <a:defRPr/>
            </a:pPr>
            <a:endParaRPr kumimoji="0" lang="en-US" sz="1800" b="1" i="0" u="none" strike="noStrike" kern="1200" cap="none" spc="0" normalizeH="0" baseline="0" noProof="0" dirty="0">
              <a:ln>
                <a:noFill/>
              </a:ln>
              <a:solidFill>
                <a:srgbClr val="1B5299"/>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id="{04D35788-C533-E2E8-2B52-4ACE6E636E85}"/>
              </a:ext>
            </a:extLst>
          </p:cNvPr>
          <p:cNvSpPr/>
          <p:nvPr/>
        </p:nvSpPr>
        <p:spPr>
          <a:xfrm>
            <a:off x="338927" y="1735663"/>
            <a:ext cx="5474617" cy="4387453"/>
          </a:xfrm>
          <a:prstGeom prst="rect">
            <a:avLst/>
          </a:prstGeom>
          <a:solidFill>
            <a:schemeClr val="tx1">
              <a:alpha val="1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24000" tIns="144000" rIns="72000" bIns="72000" rtlCol="0" anchor="t"/>
          <a:lstStyle/>
          <a:p>
            <a:pPr marL="0" marR="0" lvl="0" indent="0" algn="l" defTabSz="914400" rtl="0" eaLnBrk="1" fontAlgn="auto" latinLnBrk="0" hangingPunct="1">
              <a:lnSpc>
                <a:spcPct val="100000"/>
              </a:lnSpc>
              <a:spcBef>
                <a:spcPts val="0"/>
              </a:spcBef>
              <a:spcAft>
                <a:spcPts val="0"/>
              </a:spcAft>
              <a:buClr>
                <a:srgbClr val="039CDC"/>
              </a:buClr>
              <a:buSzTx/>
              <a:buFontTx/>
              <a:buNone/>
              <a:tabLst/>
              <a:defRPr/>
            </a:pPr>
            <a:endParaRPr kumimoji="0" lang="en-US" sz="1600" b="1" i="0" u="none" strike="noStrike" kern="1200" cap="none" spc="0" normalizeH="0" baseline="0" noProof="0" dirty="0">
              <a:ln>
                <a:noFill/>
              </a:ln>
              <a:solidFill>
                <a:srgbClr val="878C96"/>
              </a:solidFill>
              <a:effectLst/>
              <a:uLnTx/>
              <a:uFillTx/>
              <a:latin typeface="Arial" panose="020B0604020202020204"/>
              <a:ea typeface="+mn-ea"/>
              <a:cs typeface="+mn-cs"/>
            </a:endParaRPr>
          </a:p>
        </p:txBody>
      </p:sp>
      <p:sp>
        <p:nvSpPr>
          <p:cNvPr id="41" name="Freeform 37">
            <a:extLst>
              <a:ext uri="{FF2B5EF4-FFF2-40B4-BE49-F238E27FC236}">
                <a16:creationId xmlns:a16="http://schemas.microsoft.com/office/drawing/2014/main" id="{3D736F22-678F-B769-5CE9-43B9E05A9E4E}"/>
              </a:ext>
            </a:extLst>
          </p:cNvPr>
          <p:cNvSpPr/>
          <p:nvPr/>
        </p:nvSpPr>
        <p:spPr>
          <a:xfrm rot="16200000">
            <a:off x="3718200" y="3670162"/>
            <a:ext cx="4713060" cy="522374"/>
          </a:xfrm>
          <a:prstGeom prst="trapezoid">
            <a:avLst>
              <a:gd name="adj" fmla="val 30259"/>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
                <a:srgbClr val="039CDC"/>
              </a:buClr>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9180D0CB-8360-0126-7092-2ADE7A098300}"/>
              </a:ext>
            </a:extLst>
          </p:cNvPr>
          <p:cNvSpPr>
            <a:spLocks noGrp="1"/>
          </p:cNvSpPr>
          <p:nvPr>
            <p:ph type="title"/>
          </p:nvPr>
        </p:nvSpPr>
        <p:spPr>
          <a:xfrm>
            <a:off x="332732" y="119207"/>
            <a:ext cx="11468101" cy="815975"/>
          </a:xfrm>
        </p:spPr>
        <p:txBody>
          <a:bodyPr vert="horz" lIns="91440" tIns="45720" rIns="91440" bIns="45720" rtlCol="0" anchor="ctr">
            <a:noAutofit/>
          </a:bodyPr>
          <a:lstStyle/>
          <a:p>
            <a:r>
              <a:rPr lang="en-US" sz="3200" dirty="0"/>
              <a:t>The High-Speed Rail system takes drivers off the highways and provides a fast, sustainable mode of transportation</a:t>
            </a:r>
          </a:p>
        </p:txBody>
      </p:sp>
      <p:sp>
        <p:nvSpPr>
          <p:cNvPr id="4" name="Footer Placeholder 3">
            <a:extLst>
              <a:ext uri="{FF2B5EF4-FFF2-40B4-BE49-F238E27FC236}">
                <a16:creationId xmlns:a16="http://schemas.microsoft.com/office/drawing/2014/main" id="{6B9FD5D7-97AE-0A95-3EA7-57F5770EE3F6}"/>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Narrow"/>
                <a:ea typeface="+mn-ea"/>
                <a:cs typeface="+mn-cs"/>
              </a:rPr>
              <a:t>2024 Draft Business Plan Update</a:t>
            </a:r>
          </a:p>
        </p:txBody>
      </p:sp>
      <p:sp>
        <p:nvSpPr>
          <p:cNvPr id="5" name="Slide Number Placeholder 4">
            <a:extLst>
              <a:ext uri="{FF2B5EF4-FFF2-40B4-BE49-F238E27FC236}">
                <a16:creationId xmlns:a16="http://schemas.microsoft.com/office/drawing/2014/main" id="{20C28749-8C06-3D9D-FC72-07400D8B5BD6}"/>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845ACB-6A9C-4D80-856D-F33308202576}"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95" name="Text Placeholder 3">
            <a:extLst>
              <a:ext uri="{FF2B5EF4-FFF2-40B4-BE49-F238E27FC236}">
                <a16:creationId xmlns:a16="http://schemas.microsoft.com/office/drawing/2014/main" id="{8BD861E1-6776-F875-11DC-28FCBC4F1664}"/>
              </a:ext>
            </a:extLst>
          </p:cNvPr>
          <p:cNvSpPr txBox="1">
            <a:spLocks/>
          </p:cNvSpPr>
          <p:nvPr/>
        </p:nvSpPr>
        <p:spPr>
          <a:xfrm>
            <a:off x="332732" y="1163967"/>
            <a:ext cx="6644401" cy="365760"/>
          </a:xfrm>
          <a:prstGeom prst="rect">
            <a:avLst/>
          </a:prstGeom>
        </p:spPr>
        <p:txBody>
          <a:bodyPr vert="horz" lIns="91440" tIns="45720" rIns="91440" bIns="45720" rtlCol="0">
            <a:norm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Narrow"/>
                <a:ea typeface="+mn-ea"/>
                <a:cs typeface="Arial" pitchFamily="34" charset="0"/>
              </a:rPr>
              <a:t>The service is planned to consist of:</a:t>
            </a:r>
          </a:p>
        </p:txBody>
      </p:sp>
      <p:sp>
        <p:nvSpPr>
          <p:cNvPr id="114" name="masterSource">
            <a:extLst>
              <a:ext uri="{FF2B5EF4-FFF2-40B4-BE49-F238E27FC236}">
                <a16:creationId xmlns:a16="http://schemas.microsoft.com/office/drawing/2014/main" id="{4B382F0D-9E21-DB67-B081-E06E51E73173}"/>
              </a:ext>
            </a:extLst>
          </p:cNvPr>
          <p:cNvSpPr txBox="1"/>
          <p:nvPr/>
        </p:nvSpPr>
        <p:spPr>
          <a:xfrm>
            <a:off x="371475" y="6345340"/>
            <a:ext cx="0" cy="144000"/>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rPr>
              <a:t>Source: 2024 Draft Business Plan; 2023 Project Update Report; 2023 Service Development Plan, &amp; EPA </a:t>
            </a: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hlinkClick r:id="rId12">
                  <a:extLst>
                    <a:ext uri="{A12FA001-AC4F-418D-AE19-62706E023703}">
                      <ahyp:hlinkClr xmlns:ahyp="http://schemas.microsoft.com/office/drawing/2018/hyperlinkcolor" xmlns="" val="tx"/>
                    </a:ext>
                  </a:extLst>
                </a:hlinkClick>
              </a:rPr>
              <a:t>Greenhouse Gas Equivalencies Calculator  </a:t>
            </a:r>
            <a:endPar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endParaRPr>
          </a:p>
        </p:txBody>
      </p:sp>
      <p:grpSp>
        <p:nvGrpSpPr>
          <p:cNvPr id="5127" name="Group 5126">
            <a:extLst>
              <a:ext uri="{FF2B5EF4-FFF2-40B4-BE49-F238E27FC236}">
                <a16:creationId xmlns:a16="http://schemas.microsoft.com/office/drawing/2014/main" id="{1B951901-8EC3-2B16-ED09-C270A47256E1}"/>
              </a:ext>
            </a:extLst>
          </p:cNvPr>
          <p:cNvGrpSpPr/>
          <p:nvPr/>
        </p:nvGrpSpPr>
        <p:grpSpPr>
          <a:xfrm>
            <a:off x="6595746" y="4881930"/>
            <a:ext cx="5276813" cy="1005840"/>
            <a:chOff x="6595746" y="4881930"/>
            <a:chExt cx="5276813" cy="1005840"/>
          </a:xfrm>
        </p:grpSpPr>
        <p:sp>
          <p:nvSpPr>
            <p:cNvPr id="126" name="Textbox">
              <a:extLst>
                <a:ext uri="{FF2B5EF4-FFF2-40B4-BE49-F238E27FC236}">
                  <a16:creationId xmlns:a16="http://schemas.microsoft.com/office/drawing/2014/main" id="{5C34AC0A-BD19-68F3-D308-1CB5C2975FEA}"/>
                </a:ext>
              </a:extLst>
            </p:cNvPr>
            <p:cNvSpPr txBox="1">
              <a:spLocks/>
            </p:cNvSpPr>
            <p:nvPr/>
          </p:nvSpPr>
          <p:spPr>
            <a:xfrm>
              <a:off x="7758218" y="4881930"/>
              <a:ext cx="4114341" cy="100584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a:ea typeface="+mn-ea"/>
                  <a:cs typeface="Arial"/>
                </a:rPr>
                <a:t>92,000 MtCO</a:t>
              </a:r>
              <a:r>
                <a:rPr kumimoji="0" lang="en-US" sz="2000" b="1" i="0" u="none" strike="noStrike" kern="1200" cap="none" spc="0" normalizeH="0" baseline="-25000" noProof="0" dirty="0">
                  <a:ln>
                    <a:noFill/>
                  </a:ln>
                  <a:solidFill>
                    <a:srgbClr val="23417E"/>
                  </a:solidFill>
                  <a:effectLst/>
                  <a:uLnTx/>
                  <a:uFillTx/>
                  <a:latin typeface="Arial Narrow"/>
                  <a:ea typeface="+mn-ea"/>
                  <a:cs typeface="Arial"/>
                </a:rPr>
                <a:t>2</a:t>
              </a:r>
              <a:r>
                <a:rPr kumimoji="0" lang="en-US" sz="2000" b="1" i="0" u="none" strike="noStrike" kern="1200" cap="none" spc="0" normalizeH="0" baseline="0" noProof="0" dirty="0">
                  <a:ln>
                    <a:noFill/>
                  </a:ln>
                  <a:solidFill>
                    <a:srgbClr val="23417E"/>
                  </a:solidFill>
                  <a:effectLst/>
                  <a:uLnTx/>
                  <a:uFillTx/>
                  <a:latin typeface="Arial Narrow"/>
                  <a:ea typeface="+mn-ea"/>
                  <a:cs typeface="Arial"/>
                </a:rPr>
                <a:t>e </a:t>
              </a:r>
              <a:r>
                <a:rPr kumimoji="0" lang="en-US" sz="2000" b="0" i="0" u="none" strike="noStrike" kern="1200" cap="none" spc="0" normalizeH="0" baseline="0" noProof="0" dirty="0">
                  <a:ln>
                    <a:noFill/>
                  </a:ln>
                  <a:solidFill>
                    <a:srgbClr val="23417E"/>
                  </a:solidFill>
                  <a:effectLst/>
                  <a:uLnTx/>
                  <a:uFillTx/>
                  <a:latin typeface="Arial Narrow"/>
                  <a:ea typeface="+mn-ea"/>
                  <a:cs typeface="Arial"/>
                </a:rPr>
                <a:t>emissions reduced</a:t>
              </a:r>
              <a:r>
                <a:rPr kumimoji="0" lang="en-US" sz="2000" b="0" i="0" u="none" strike="noStrike" kern="1200" cap="none" spc="0" normalizeH="0" baseline="30000" noProof="0" dirty="0">
                  <a:ln>
                    <a:noFill/>
                  </a:ln>
                  <a:solidFill>
                    <a:srgbClr val="23417E"/>
                  </a:solidFill>
                  <a:effectLst/>
                  <a:uLnTx/>
                  <a:uFillTx/>
                  <a:latin typeface="Arial Narrow"/>
                  <a:ea typeface="+mn-ea"/>
                  <a:cs typeface="Arial"/>
                </a:rPr>
                <a:t>1</a:t>
              </a:r>
              <a:endParaRPr kumimoji="0" lang="en-US" sz="2000" b="0" i="0" u="none" strike="noStrike" kern="1200" cap="none" spc="0" normalizeH="0" baseline="30000" noProof="0" dirty="0">
                <a:ln>
                  <a:noFill/>
                </a:ln>
                <a:solidFill>
                  <a:srgbClr val="23417E"/>
                </a:solidFill>
                <a:effectLst/>
                <a:uLnTx/>
                <a:uFillTx/>
                <a:latin typeface="Arial Narrow" pitchFamily="34" charset="0"/>
                <a:ea typeface="+mn-ea"/>
                <a:cs typeface="Arial" pitchFamily="34" charset="0"/>
              </a:endParaRPr>
            </a:p>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0" i="1" u="none" strike="noStrike" kern="1200" cap="none" spc="0" normalizeH="0" baseline="0" noProof="0" dirty="0">
                  <a:ln>
                    <a:noFill/>
                  </a:ln>
                  <a:solidFill>
                    <a:srgbClr val="23417E"/>
                  </a:solidFill>
                  <a:effectLst/>
                  <a:uLnTx/>
                  <a:uFillTx/>
                  <a:latin typeface="Arial Narrow"/>
                  <a:ea typeface="+mn-ea"/>
                  <a:cs typeface="Arial"/>
                </a:rPr>
                <a:t>(~11k homes’ annual energy use)</a:t>
              </a:r>
              <a:endParaRPr kumimoji="0" lang="en-US" sz="2000" b="0" i="0" u="none" strike="noStrike" kern="1200" cap="none" spc="0" normalizeH="0" baseline="0" noProof="0" dirty="0">
                <a:ln>
                  <a:noFill/>
                </a:ln>
                <a:solidFill>
                  <a:srgbClr val="23417E"/>
                </a:solidFill>
                <a:effectLst/>
                <a:uLnTx/>
                <a:uFillTx/>
                <a:latin typeface="Arial Narrow"/>
                <a:ea typeface="+mn-ea"/>
                <a:cs typeface="Arial"/>
              </a:endParaRPr>
            </a:p>
          </p:txBody>
        </p:sp>
        <p:grpSp>
          <p:nvGrpSpPr>
            <p:cNvPr id="200" name="Group 199">
              <a:extLst>
                <a:ext uri="{FF2B5EF4-FFF2-40B4-BE49-F238E27FC236}">
                  <a16:creationId xmlns:a16="http://schemas.microsoft.com/office/drawing/2014/main" id="{2A2D9EEB-B4D8-DC28-82C5-B3BA9292B999}"/>
                </a:ext>
              </a:extLst>
            </p:cNvPr>
            <p:cNvGrpSpPr/>
            <p:nvPr/>
          </p:nvGrpSpPr>
          <p:grpSpPr>
            <a:xfrm>
              <a:off x="6595746" y="4927650"/>
              <a:ext cx="914400" cy="914400"/>
              <a:chOff x="8782662" y="2076181"/>
              <a:chExt cx="731520" cy="731520"/>
            </a:xfrm>
          </p:grpSpPr>
          <p:grpSp>
            <p:nvGrpSpPr>
              <p:cNvPr id="127" name="Group 126" descr="Image of mechanical arm bending to represent state of the art practices ">
                <a:extLst>
                  <a:ext uri="{FF2B5EF4-FFF2-40B4-BE49-F238E27FC236}">
                    <a16:creationId xmlns:a16="http://schemas.microsoft.com/office/drawing/2014/main" id="{4DA1F48E-F97A-60F9-AFAA-20D043DC9DC2}"/>
                  </a:ext>
                </a:extLst>
              </p:cNvPr>
              <p:cNvGrpSpPr/>
              <p:nvPr/>
            </p:nvGrpSpPr>
            <p:grpSpPr>
              <a:xfrm>
                <a:off x="8782662" y="2076181"/>
                <a:ext cx="731520" cy="731520"/>
                <a:chOff x="641256" y="1416677"/>
                <a:chExt cx="1299786" cy="1299786"/>
              </a:xfrm>
            </p:grpSpPr>
            <p:sp>
              <p:nvSpPr>
                <p:cNvPr id="128" name="Oval 127">
                  <a:extLst>
                    <a:ext uri="{FF2B5EF4-FFF2-40B4-BE49-F238E27FC236}">
                      <a16:creationId xmlns:a16="http://schemas.microsoft.com/office/drawing/2014/main" id="{A4DEB9F7-A666-6BAB-B4D7-E3CC2C640F26}"/>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129" name="Textplatzhalter 6">
                  <a:extLst>
                    <a:ext uri="{FF2B5EF4-FFF2-40B4-BE49-F238E27FC236}">
                      <a16:creationId xmlns:a16="http://schemas.microsoft.com/office/drawing/2014/main" id="{B1168999-7142-8207-983A-738C0B16AC0C}"/>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sp>
            <p:nvSpPr>
              <p:cNvPr id="161" name="Background">
                <a:extLst>
                  <a:ext uri="{FF2B5EF4-FFF2-40B4-BE49-F238E27FC236}">
                    <a16:creationId xmlns:a16="http://schemas.microsoft.com/office/drawing/2014/main" id="{4AAE321F-C9A7-5748-6637-D95CB723028B}"/>
                  </a:ext>
                </a:extLst>
              </p:cNvPr>
              <p:cNvSpPr/>
              <p:nvPr/>
            </p:nvSpPr>
            <p:spPr>
              <a:xfrm>
                <a:off x="8861853" y="2107217"/>
                <a:ext cx="573137" cy="573137"/>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grpSp>
      </p:grpSp>
      <p:sp>
        <p:nvSpPr>
          <p:cNvPr id="65" name="Text Placeholder 3">
            <a:extLst>
              <a:ext uri="{FF2B5EF4-FFF2-40B4-BE49-F238E27FC236}">
                <a16:creationId xmlns:a16="http://schemas.microsoft.com/office/drawing/2014/main" id="{E3298C5A-A762-995A-A079-86F89E52C1E8}"/>
              </a:ext>
            </a:extLst>
          </p:cNvPr>
          <p:cNvSpPr txBox="1">
            <a:spLocks/>
          </p:cNvSpPr>
          <p:nvPr/>
        </p:nvSpPr>
        <p:spPr>
          <a:xfrm>
            <a:off x="6702129" y="1163967"/>
            <a:ext cx="5071596" cy="365760"/>
          </a:xfrm>
          <a:prstGeom prst="rect">
            <a:avLst/>
          </a:prstGeom>
        </p:spPr>
        <p:txBody>
          <a:bodyPr vert="horz" lIns="91440" tIns="45720" rIns="91440" bIns="45720" rtlCol="0">
            <a:norm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Narrow"/>
                <a:ea typeface="+mn-ea"/>
                <a:cs typeface="Arial" pitchFamily="34" charset="0"/>
              </a:rPr>
              <a:t>The service saves:</a:t>
            </a:r>
            <a:endParaRPr kumimoji="0" lang="en-US" sz="1800" b="1" i="0" u="none" strike="noStrike" kern="1200" cap="none" spc="0" normalizeH="0" baseline="30000" noProof="0" dirty="0">
              <a:ln>
                <a:noFill/>
              </a:ln>
              <a:solidFill>
                <a:srgbClr val="FFFFFF">
                  <a:lumMod val="50000"/>
                </a:srgbClr>
              </a:solidFill>
              <a:effectLst/>
              <a:uLnTx/>
              <a:uFillTx/>
              <a:latin typeface="Arial Narrow"/>
              <a:ea typeface="+mn-ea"/>
              <a:cs typeface="Arial" pitchFamily="34" charset="0"/>
            </a:endParaRPr>
          </a:p>
        </p:txBody>
      </p:sp>
      <p:grpSp>
        <p:nvGrpSpPr>
          <p:cNvPr id="5125" name="Group 5124">
            <a:extLst>
              <a:ext uri="{FF2B5EF4-FFF2-40B4-BE49-F238E27FC236}">
                <a16:creationId xmlns:a16="http://schemas.microsoft.com/office/drawing/2014/main" id="{E9ED3528-9385-7F6C-2A6B-E5EEB1AD1968}"/>
              </a:ext>
            </a:extLst>
          </p:cNvPr>
          <p:cNvGrpSpPr/>
          <p:nvPr/>
        </p:nvGrpSpPr>
        <p:grpSpPr>
          <a:xfrm>
            <a:off x="6595746" y="1807260"/>
            <a:ext cx="5170430" cy="1005840"/>
            <a:chOff x="6702129" y="2008551"/>
            <a:chExt cx="5170430" cy="1005840"/>
          </a:xfrm>
        </p:grpSpPr>
        <p:sp>
          <p:nvSpPr>
            <p:cNvPr id="82" name="Textbox">
              <a:extLst>
                <a:ext uri="{FF2B5EF4-FFF2-40B4-BE49-F238E27FC236}">
                  <a16:creationId xmlns:a16="http://schemas.microsoft.com/office/drawing/2014/main" id="{524847DF-22BC-E46F-8209-980A93672E89}"/>
                </a:ext>
              </a:extLst>
            </p:cNvPr>
            <p:cNvSpPr txBox="1">
              <a:spLocks/>
            </p:cNvSpPr>
            <p:nvPr/>
          </p:nvSpPr>
          <p:spPr>
            <a:xfrm>
              <a:off x="7758218" y="2008551"/>
              <a:ext cx="4114341" cy="100584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a:ea typeface="+mn-ea"/>
                  <a:cs typeface="Arial"/>
                </a:rPr>
                <a:t>~499,000 </a:t>
              </a:r>
              <a:r>
                <a:rPr kumimoji="0" lang="en-US" sz="2000" b="0" i="0" u="none" strike="noStrike" kern="1200" cap="none" spc="0" normalizeH="0" baseline="0" noProof="0" dirty="0">
                  <a:ln>
                    <a:noFill/>
                  </a:ln>
                  <a:solidFill>
                    <a:srgbClr val="23417E"/>
                  </a:solidFill>
                  <a:effectLst/>
                  <a:uLnTx/>
                  <a:uFillTx/>
                  <a:latin typeface="Arial Narrow"/>
                  <a:ea typeface="+mn-ea"/>
                  <a:cs typeface="Arial"/>
                </a:rPr>
                <a:t>annual </a:t>
              </a:r>
              <a:r>
                <a:rPr kumimoji="0" lang="en-US" sz="2000" b="0" i="0" u="none" strike="noStrike" kern="1200" cap="none" spc="0" normalizeH="0" baseline="0" noProof="0" dirty="0">
                  <a:ln>
                    <a:noFill/>
                  </a:ln>
                  <a:solidFill>
                    <a:srgbClr val="23417E"/>
                  </a:solidFill>
                  <a:effectLst/>
                  <a:uLnTx/>
                  <a:uFillTx/>
                  <a:latin typeface="Arial Narrow"/>
                  <a:ea typeface="Calibri"/>
                  <a:cs typeface="Arial"/>
                </a:rPr>
                <a:t>hours</a:t>
              </a:r>
              <a:r>
                <a:rPr kumimoji="0" lang="en-US" sz="2000" b="0" i="0" u="none" strike="noStrike" kern="1200" cap="none" spc="0" normalizeH="0" baseline="30000" noProof="0" dirty="0">
                  <a:ln>
                    <a:noFill/>
                  </a:ln>
                  <a:solidFill>
                    <a:srgbClr val="23417E"/>
                  </a:solidFill>
                  <a:effectLst/>
                  <a:uLnTx/>
                  <a:uFillTx/>
                  <a:latin typeface="Arial Narrow"/>
                  <a:ea typeface="+mn-ea"/>
                  <a:cs typeface="Arial"/>
                </a:rPr>
                <a:t>1</a:t>
              </a:r>
              <a:r>
                <a:rPr kumimoji="0" lang="en-US" sz="2000" b="0" i="0" u="none" strike="noStrike" kern="1200" cap="none" spc="0" normalizeH="0" baseline="0" noProof="0" dirty="0">
                  <a:ln>
                    <a:noFill/>
                  </a:ln>
                  <a:solidFill>
                    <a:srgbClr val="23417E"/>
                  </a:solidFill>
                  <a:effectLst/>
                  <a:uLnTx/>
                  <a:uFillTx/>
                  <a:latin typeface="Arial Narrow"/>
                  <a:ea typeface="Calibri"/>
                  <a:cs typeface="Arial"/>
                </a:rPr>
                <a:t> in passenger travel compared to other rail transportation options</a:t>
              </a:r>
              <a:endParaRPr kumimoji="0" lang="en-US" sz="2000" b="1" i="0" u="none" strike="noStrike" kern="1200" cap="none" spc="0" normalizeH="0" baseline="30000" noProof="0" dirty="0">
                <a:ln>
                  <a:noFill/>
                </a:ln>
                <a:solidFill>
                  <a:srgbClr val="23417E"/>
                </a:solidFill>
                <a:effectLst/>
                <a:uLnTx/>
                <a:uFillTx/>
                <a:latin typeface="Arial Narrow"/>
                <a:ea typeface="+mn-ea"/>
                <a:cs typeface="Arial"/>
              </a:endParaRPr>
            </a:p>
          </p:txBody>
        </p:sp>
        <p:grpSp>
          <p:nvGrpSpPr>
            <p:cNvPr id="99" name="Group 98">
              <a:extLst>
                <a:ext uri="{FF2B5EF4-FFF2-40B4-BE49-F238E27FC236}">
                  <a16:creationId xmlns:a16="http://schemas.microsoft.com/office/drawing/2014/main" id="{F9523886-14DD-F691-EDEE-F1AFBC72569E}"/>
                </a:ext>
              </a:extLst>
            </p:cNvPr>
            <p:cNvGrpSpPr/>
            <p:nvPr/>
          </p:nvGrpSpPr>
          <p:grpSpPr>
            <a:xfrm>
              <a:off x="6702129" y="2054271"/>
              <a:ext cx="914400" cy="914400"/>
              <a:chOff x="7173929" y="2016903"/>
              <a:chExt cx="640080" cy="640080"/>
            </a:xfrm>
          </p:grpSpPr>
          <p:grpSp>
            <p:nvGrpSpPr>
              <p:cNvPr id="84" name="Group 83" descr="Image of mechanical arm bending to represent state of the art practices ">
                <a:extLst>
                  <a:ext uri="{FF2B5EF4-FFF2-40B4-BE49-F238E27FC236}">
                    <a16:creationId xmlns:a16="http://schemas.microsoft.com/office/drawing/2014/main" id="{082B6888-2246-939B-4670-45177A7F1CAC}"/>
                  </a:ext>
                </a:extLst>
              </p:cNvPr>
              <p:cNvGrpSpPr/>
              <p:nvPr/>
            </p:nvGrpSpPr>
            <p:grpSpPr>
              <a:xfrm>
                <a:off x="7173929" y="2016903"/>
                <a:ext cx="640080" cy="640080"/>
                <a:chOff x="641256" y="1416677"/>
                <a:chExt cx="1299786" cy="1299786"/>
              </a:xfrm>
            </p:grpSpPr>
            <p:sp>
              <p:nvSpPr>
                <p:cNvPr id="88" name="Oval 87">
                  <a:extLst>
                    <a:ext uri="{FF2B5EF4-FFF2-40B4-BE49-F238E27FC236}">
                      <a16:creationId xmlns:a16="http://schemas.microsoft.com/office/drawing/2014/main" id="{94050A18-1DFE-6797-FAE1-9415D3A5213A}"/>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89" name="Textplatzhalter 6">
                  <a:extLst>
                    <a:ext uri="{FF2B5EF4-FFF2-40B4-BE49-F238E27FC236}">
                      <a16:creationId xmlns:a16="http://schemas.microsoft.com/office/drawing/2014/main" id="{92002640-0D46-CE0B-2CC9-0D6598DAE0CF}"/>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sp>
            <p:nvSpPr>
              <p:cNvPr id="91" name="Background">
                <a:extLst>
                  <a:ext uri="{FF2B5EF4-FFF2-40B4-BE49-F238E27FC236}">
                    <a16:creationId xmlns:a16="http://schemas.microsoft.com/office/drawing/2014/main" id="{D2DDF6A8-7A9E-A6EC-0BAD-6354C23154E1}"/>
                  </a:ext>
                </a:extLst>
              </p:cNvPr>
              <p:cNvSpPr/>
              <p:nvPr/>
            </p:nvSpPr>
            <p:spPr>
              <a:xfrm>
                <a:off x="7300335" y="2108384"/>
                <a:ext cx="387269" cy="38726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grpSp>
      </p:grpSp>
      <p:grpSp>
        <p:nvGrpSpPr>
          <p:cNvPr id="5126" name="Group 5125">
            <a:extLst>
              <a:ext uri="{FF2B5EF4-FFF2-40B4-BE49-F238E27FC236}">
                <a16:creationId xmlns:a16="http://schemas.microsoft.com/office/drawing/2014/main" id="{EB74C2CC-1178-1CC4-9CBC-1660D458B3AB}"/>
              </a:ext>
            </a:extLst>
          </p:cNvPr>
          <p:cNvGrpSpPr/>
          <p:nvPr/>
        </p:nvGrpSpPr>
        <p:grpSpPr>
          <a:xfrm>
            <a:off x="6595746" y="3344595"/>
            <a:ext cx="5276813" cy="1005840"/>
            <a:chOff x="6595746" y="3429208"/>
            <a:chExt cx="5276813" cy="1005840"/>
          </a:xfrm>
        </p:grpSpPr>
        <p:sp>
          <p:nvSpPr>
            <p:cNvPr id="74" name="Textbox">
              <a:extLst>
                <a:ext uri="{FF2B5EF4-FFF2-40B4-BE49-F238E27FC236}">
                  <a16:creationId xmlns:a16="http://schemas.microsoft.com/office/drawing/2014/main" id="{75318DC2-624E-74F1-7FB1-ABD4C675033E}"/>
                </a:ext>
              </a:extLst>
            </p:cNvPr>
            <p:cNvSpPr txBox="1">
              <a:spLocks/>
            </p:cNvSpPr>
            <p:nvPr/>
          </p:nvSpPr>
          <p:spPr>
            <a:xfrm>
              <a:off x="7758218" y="3429208"/>
              <a:ext cx="4114341" cy="100584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a:ea typeface="+mn-ea"/>
                  <a:cs typeface="Arial"/>
                </a:rPr>
                <a:t>~97 million </a:t>
              </a:r>
              <a:r>
                <a:rPr kumimoji="0" lang="en-US" sz="2000" b="0" i="0" u="none" strike="noStrike" kern="1200" cap="none" spc="0" normalizeH="0" baseline="0" noProof="0" dirty="0">
                  <a:ln>
                    <a:noFill/>
                  </a:ln>
                  <a:solidFill>
                    <a:srgbClr val="23417E"/>
                  </a:solidFill>
                  <a:effectLst/>
                  <a:uLnTx/>
                  <a:uFillTx/>
                  <a:latin typeface="Arial Narrow"/>
                  <a:ea typeface="+mn-ea"/>
                  <a:cs typeface="Arial"/>
                </a:rPr>
                <a:t>fewer miles travelled by private vehicles annually</a:t>
              </a:r>
              <a:r>
                <a:rPr kumimoji="0" lang="en-US" sz="2000" b="0" i="0" u="none" strike="noStrike" kern="1200" cap="none" spc="0" normalizeH="0" baseline="30000" noProof="0" dirty="0">
                  <a:ln>
                    <a:noFill/>
                  </a:ln>
                  <a:solidFill>
                    <a:srgbClr val="23417E"/>
                  </a:solidFill>
                  <a:effectLst/>
                  <a:uLnTx/>
                  <a:uFillTx/>
                  <a:latin typeface="Arial Narrow"/>
                  <a:ea typeface="+mn-ea"/>
                  <a:cs typeface="Arial"/>
                </a:rPr>
                <a:t>1</a:t>
              </a:r>
              <a:r>
                <a:rPr kumimoji="0" lang="en-US" sz="2000" b="0" i="0" u="none" strike="noStrike" kern="1200" cap="none" spc="0" normalizeH="0" baseline="0" noProof="0" dirty="0">
                  <a:ln>
                    <a:noFill/>
                  </a:ln>
                  <a:solidFill>
                    <a:srgbClr val="23417E"/>
                  </a:solidFill>
                  <a:effectLst/>
                  <a:uLnTx/>
                  <a:uFillTx/>
                  <a:latin typeface="Arial Narrow"/>
                  <a:ea typeface="+mn-ea"/>
                  <a:cs typeface="Arial"/>
                </a:rPr>
                <a:t> </a:t>
              </a:r>
              <a:endPar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nvGrpSpPr>
            <p:cNvPr id="100" name="Group 99">
              <a:extLst>
                <a:ext uri="{FF2B5EF4-FFF2-40B4-BE49-F238E27FC236}">
                  <a16:creationId xmlns:a16="http://schemas.microsoft.com/office/drawing/2014/main" id="{C63C141C-B89D-4BB5-B32E-D34F7E5950EA}"/>
                </a:ext>
              </a:extLst>
            </p:cNvPr>
            <p:cNvGrpSpPr/>
            <p:nvPr/>
          </p:nvGrpSpPr>
          <p:grpSpPr>
            <a:xfrm>
              <a:off x="6595746" y="3474928"/>
              <a:ext cx="914400" cy="914400"/>
              <a:chOff x="7173929" y="3525599"/>
              <a:chExt cx="640080" cy="640080"/>
            </a:xfrm>
          </p:grpSpPr>
          <p:grpSp>
            <p:nvGrpSpPr>
              <p:cNvPr id="76" name="Group 75" descr="Image of mechanical arm bending to represent state of the art practices ">
                <a:extLst>
                  <a:ext uri="{FF2B5EF4-FFF2-40B4-BE49-F238E27FC236}">
                    <a16:creationId xmlns:a16="http://schemas.microsoft.com/office/drawing/2014/main" id="{70E15E5E-3520-F113-D2B6-84E5886359EB}"/>
                  </a:ext>
                </a:extLst>
              </p:cNvPr>
              <p:cNvGrpSpPr/>
              <p:nvPr/>
            </p:nvGrpSpPr>
            <p:grpSpPr>
              <a:xfrm>
                <a:off x="7173929" y="3525599"/>
                <a:ext cx="640080" cy="640080"/>
                <a:chOff x="641256" y="1416677"/>
                <a:chExt cx="1299786" cy="1299786"/>
              </a:xfrm>
            </p:grpSpPr>
            <p:sp>
              <p:nvSpPr>
                <p:cNvPr id="80" name="Oval 79">
                  <a:extLst>
                    <a:ext uri="{FF2B5EF4-FFF2-40B4-BE49-F238E27FC236}">
                      <a16:creationId xmlns:a16="http://schemas.microsoft.com/office/drawing/2014/main" id="{2568FE3C-E409-8A7B-5F3F-B9B9C380129A}"/>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81" name="Textplatzhalter 6">
                  <a:extLst>
                    <a:ext uri="{FF2B5EF4-FFF2-40B4-BE49-F238E27FC236}">
                      <a16:creationId xmlns:a16="http://schemas.microsoft.com/office/drawing/2014/main" id="{6944F037-7250-29B8-91C9-B8F68442A94F}"/>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93" name="easyIcon">
                <a:extLst>
                  <a:ext uri="{FF2B5EF4-FFF2-40B4-BE49-F238E27FC236}">
                    <a16:creationId xmlns:a16="http://schemas.microsoft.com/office/drawing/2014/main" id="{756DE027-773A-3D4C-B6B1-87EDE69DBEE6}"/>
                  </a:ext>
                </a:extLst>
              </p:cNvPr>
              <p:cNvGrpSpPr>
                <a:grpSpLocks noChangeAspect="1"/>
              </p:cNvGrpSpPr>
              <p:nvPr>
                <p:custDataLst>
                  <p:tags r:id="rId8"/>
                </p:custDataLst>
              </p:nvPr>
            </p:nvGrpSpPr>
            <p:grpSpPr>
              <a:xfrm>
                <a:off x="7265369" y="3617039"/>
                <a:ext cx="457200" cy="457201"/>
                <a:chOff x="1566014" y="2691984"/>
                <a:chExt cx="714051" cy="714052"/>
              </a:xfrm>
            </p:grpSpPr>
            <p:sp>
              <p:nvSpPr>
                <p:cNvPr id="94" name="Background">
                  <a:extLst>
                    <a:ext uri="{FF2B5EF4-FFF2-40B4-BE49-F238E27FC236}">
                      <a16:creationId xmlns:a16="http://schemas.microsoft.com/office/drawing/2014/main" id="{3F7D7F5B-8CAA-957A-482D-9DA13D55F46A}"/>
                    </a:ext>
                  </a:extLst>
                </p:cNvPr>
                <p:cNvSpPr/>
                <p:nvPr/>
              </p:nvSpPr>
              <p:spPr>
                <a:xfrm>
                  <a:off x="1566014" y="2691984"/>
                  <a:ext cx="714051" cy="714052"/>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97" name="Vector">
                  <a:extLst>
                    <a:ext uri="{FF2B5EF4-FFF2-40B4-BE49-F238E27FC236}">
                      <a16:creationId xmlns:a16="http://schemas.microsoft.com/office/drawing/2014/main" id="{A6EF0BDF-5958-4BFD-234B-CE431E49354B}"/>
                    </a:ext>
                  </a:extLst>
                </p:cNvPr>
                <p:cNvSpPr>
                  <a:spLocks noChangeAspect="1"/>
                </p:cNvSpPr>
                <p:nvPr/>
              </p:nvSpPr>
              <p:spPr bwMode="gray">
                <a:xfrm>
                  <a:off x="1635039" y="2911310"/>
                  <a:ext cx="576001" cy="275400"/>
                </a:xfrm>
                <a:custGeom>
                  <a:avLst/>
                  <a:gdLst>
                    <a:gd name="connsiteX0" fmla="*/ 545547 w 677962"/>
                    <a:gd name="connsiteY0" fmla="*/ 212922 h 324150"/>
                    <a:gd name="connsiteX1" fmla="*/ 501056 w 677962"/>
                    <a:gd name="connsiteY1" fmla="*/ 257414 h 324150"/>
                    <a:gd name="connsiteX2" fmla="*/ 545547 w 677962"/>
                    <a:gd name="connsiteY2" fmla="*/ 301905 h 324150"/>
                    <a:gd name="connsiteX3" fmla="*/ 590039 w 677962"/>
                    <a:gd name="connsiteY3" fmla="*/ 257414 h 324150"/>
                    <a:gd name="connsiteX4" fmla="*/ 545547 w 677962"/>
                    <a:gd name="connsiteY4" fmla="*/ 212922 h 324150"/>
                    <a:gd name="connsiteX5" fmla="*/ 156779 w 677962"/>
                    <a:gd name="connsiteY5" fmla="*/ 211863 h 324150"/>
                    <a:gd name="connsiteX6" fmla="*/ 111228 w 677962"/>
                    <a:gd name="connsiteY6" fmla="*/ 257414 h 324150"/>
                    <a:gd name="connsiteX7" fmla="*/ 156779 w 677962"/>
                    <a:gd name="connsiteY7" fmla="*/ 302964 h 324150"/>
                    <a:gd name="connsiteX8" fmla="*/ 202329 w 677962"/>
                    <a:gd name="connsiteY8" fmla="*/ 257414 h 324150"/>
                    <a:gd name="connsiteX9" fmla="*/ 156779 w 677962"/>
                    <a:gd name="connsiteY9" fmla="*/ 211863 h 324150"/>
                    <a:gd name="connsiteX10" fmla="*/ 298726 w 677962"/>
                    <a:gd name="connsiteY10" fmla="*/ 162076 h 324150"/>
                    <a:gd name="connsiteX11" fmla="*/ 378175 w 677962"/>
                    <a:gd name="connsiteY11" fmla="*/ 162076 h 324150"/>
                    <a:gd name="connsiteX12" fmla="*/ 388768 w 677962"/>
                    <a:gd name="connsiteY12" fmla="*/ 172669 h 324150"/>
                    <a:gd name="connsiteX13" fmla="*/ 378175 w 677962"/>
                    <a:gd name="connsiteY13" fmla="*/ 183262 h 324150"/>
                    <a:gd name="connsiteX14" fmla="*/ 298726 w 677962"/>
                    <a:gd name="connsiteY14" fmla="*/ 183262 h 324150"/>
                    <a:gd name="connsiteX15" fmla="*/ 288133 w 677962"/>
                    <a:gd name="connsiteY15" fmla="*/ 172669 h 324150"/>
                    <a:gd name="connsiteX16" fmla="*/ 298726 w 677962"/>
                    <a:gd name="connsiteY16" fmla="*/ 162076 h 324150"/>
                    <a:gd name="connsiteX17" fmla="*/ 84745 w 677962"/>
                    <a:gd name="connsiteY17" fmla="*/ 117584 h 324150"/>
                    <a:gd name="connsiteX18" fmla="*/ 26483 w 677962"/>
                    <a:gd name="connsiteY18" fmla="*/ 170550 h 324150"/>
                    <a:gd name="connsiteX19" fmla="*/ 84745 w 677962"/>
                    <a:gd name="connsiteY19" fmla="*/ 117584 h 324150"/>
                    <a:gd name="connsiteX20" fmla="*/ 621818 w 677962"/>
                    <a:gd name="connsiteY20" fmla="*/ 115465 h 324150"/>
                    <a:gd name="connsiteX21" fmla="*/ 621818 w 677962"/>
                    <a:gd name="connsiteY21" fmla="*/ 135592 h 324150"/>
                    <a:gd name="connsiteX22" fmla="*/ 635589 w 677962"/>
                    <a:gd name="connsiteY22" fmla="*/ 149363 h 324150"/>
                    <a:gd name="connsiteX23" fmla="*/ 656775 w 677962"/>
                    <a:gd name="connsiteY23" fmla="*/ 149363 h 324150"/>
                    <a:gd name="connsiteX24" fmla="*/ 621818 w 677962"/>
                    <a:gd name="connsiteY24" fmla="*/ 115465 h 324150"/>
                    <a:gd name="connsiteX25" fmla="*/ 104872 w 677962"/>
                    <a:gd name="connsiteY25" fmla="*/ 114406 h 324150"/>
                    <a:gd name="connsiteX26" fmla="*/ 21186 w 677962"/>
                    <a:gd name="connsiteY26" fmla="*/ 190677 h 324150"/>
                    <a:gd name="connsiteX27" fmla="*/ 21186 w 677962"/>
                    <a:gd name="connsiteY27" fmla="*/ 246820 h 324150"/>
                    <a:gd name="connsiteX28" fmla="*/ 91101 w 677962"/>
                    <a:gd name="connsiteY28" fmla="*/ 246820 h 324150"/>
                    <a:gd name="connsiteX29" fmla="*/ 156779 w 677962"/>
                    <a:gd name="connsiteY29" fmla="*/ 190677 h 324150"/>
                    <a:gd name="connsiteX30" fmla="*/ 222456 w 677962"/>
                    <a:gd name="connsiteY30" fmla="*/ 246820 h 324150"/>
                    <a:gd name="connsiteX31" fmla="*/ 480929 w 677962"/>
                    <a:gd name="connsiteY31" fmla="*/ 246820 h 324150"/>
                    <a:gd name="connsiteX32" fmla="*/ 545547 w 677962"/>
                    <a:gd name="connsiteY32" fmla="*/ 191736 h 324150"/>
                    <a:gd name="connsiteX33" fmla="*/ 610166 w 677962"/>
                    <a:gd name="connsiteY33" fmla="*/ 246820 h 324150"/>
                    <a:gd name="connsiteX34" fmla="*/ 655716 w 677962"/>
                    <a:gd name="connsiteY34" fmla="*/ 246820 h 324150"/>
                    <a:gd name="connsiteX35" fmla="*/ 655716 w 677962"/>
                    <a:gd name="connsiteY35" fmla="*/ 168431 h 324150"/>
                    <a:gd name="connsiteX36" fmla="*/ 634530 w 677962"/>
                    <a:gd name="connsiteY36" fmla="*/ 168431 h 324150"/>
                    <a:gd name="connsiteX37" fmla="*/ 599572 w 677962"/>
                    <a:gd name="connsiteY37" fmla="*/ 133474 h 324150"/>
                    <a:gd name="connsiteX38" fmla="*/ 599572 w 677962"/>
                    <a:gd name="connsiteY38" fmla="*/ 114406 h 324150"/>
                    <a:gd name="connsiteX39" fmla="*/ 104872 w 677962"/>
                    <a:gd name="connsiteY39" fmla="*/ 114406 h 324150"/>
                    <a:gd name="connsiteX40" fmla="*/ 497878 w 677962"/>
                    <a:gd name="connsiteY40" fmla="*/ 37076 h 324150"/>
                    <a:gd name="connsiteX41" fmla="*/ 537073 w 677962"/>
                    <a:gd name="connsiteY41" fmla="*/ 94279 h 324150"/>
                    <a:gd name="connsiteX42" fmla="*/ 594276 w 677962"/>
                    <a:gd name="connsiteY42" fmla="*/ 94279 h 324150"/>
                    <a:gd name="connsiteX43" fmla="*/ 497878 w 677962"/>
                    <a:gd name="connsiteY43" fmla="*/ 37076 h 324150"/>
                    <a:gd name="connsiteX44" fmla="*/ 352752 w 677962"/>
                    <a:gd name="connsiteY44" fmla="*/ 25424 h 324150"/>
                    <a:gd name="connsiteX45" fmla="*/ 209744 w 677962"/>
                    <a:gd name="connsiteY45" fmla="*/ 93220 h 324150"/>
                    <a:gd name="connsiteX46" fmla="*/ 352752 w 677962"/>
                    <a:gd name="connsiteY46" fmla="*/ 93220 h 324150"/>
                    <a:gd name="connsiteX47" fmla="*/ 404658 w 677962"/>
                    <a:gd name="connsiteY47" fmla="*/ 20127 h 324150"/>
                    <a:gd name="connsiteX48" fmla="*/ 373938 w 677962"/>
                    <a:gd name="connsiteY48" fmla="*/ 22246 h 324150"/>
                    <a:gd name="connsiteX49" fmla="*/ 373938 w 677962"/>
                    <a:gd name="connsiteY49" fmla="*/ 93220 h 324150"/>
                    <a:gd name="connsiteX50" fmla="*/ 511649 w 677962"/>
                    <a:gd name="connsiteY50" fmla="*/ 93220 h 324150"/>
                    <a:gd name="connsiteX51" fmla="*/ 466099 w 677962"/>
                    <a:gd name="connsiteY51" fmla="*/ 27542 h 324150"/>
                    <a:gd name="connsiteX52" fmla="*/ 404658 w 677962"/>
                    <a:gd name="connsiteY52" fmla="*/ 20127 h 324150"/>
                    <a:gd name="connsiteX53" fmla="*/ 405718 w 677962"/>
                    <a:gd name="connsiteY53" fmla="*/ 0 h 324150"/>
                    <a:gd name="connsiteX54" fmla="*/ 627115 w 677962"/>
                    <a:gd name="connsiteY54" fmla="*/ 94279 h 324150"/>
                    <a:gd name="connsiteX55" fmla="*/ 677962 w 677962"/>
                    <a:gd name="connsiteY55" fmla="*/ 149363 h 324150"/>
                    <a:gd name="connsiteX56" fmla="*/ 677962 w 677962"/>
                    <a:gd name="connsiteY56" fmla="*/ 257414 h 324150"/>
                    <a:gd name="connsiteX57" fmla="*/ 667369 w 677962"/>
                    <a:gd name="connsiteY57" fmla="*/ 268007 h 324150"/>
                    <a:gd name="connsiteX58" fmla="*/ 610166 w 677962"/>
                    <a:gd name="connsiteY58" fmla="*/ 268007 h 324150"/>
                    <a:gd name="connsiteX59" fmla="*/ 545547 w 677962"/>
                    <a:gd name="connsiteY59" fmla="*/ 323091 h 324150"/>
                    <a:gd name="connsiteX60" fmla="*/ 480929 w 677962"/>
                    <a:gd name="connsiteY60" fmla="*/ 268007 h 324150"/>
                    <a:gd name="connsiteX61" fmla="*/ 222456 w 677962"/>
                    <a:gd name="connsiteY61" fmla="*/ 268007 h 324150"/>
                    <a:gd name="connsiteX62" fmla="*/ 156779 w 677962"/>
                    <a:gd name="connsiteY62" fmla="*/ 324150 h 324150"/>
                    <a:gd name="connsiteX63" fmla="*/ 91101 w 677962"/>
                    <a:gd name="connsiteY63" fmla="*/ 268007 h 324150"/>
                    <a:gd name="connsiteX64" fmla="*/ 10593 w 677962"/>
                    <a:gd name="connsiteY64" fmla="*/ 268007 h 324150"/>
                    <a:gd name="connsiteX65" fmla="*/ 0 w 677962"/>
                    <a:gd name="connsiteY65" fmla="*/ 257414 h 324150"/>
                    <a:gd name="connsiteX66" fmla="*/ 2119 w 677962"/>
                    <a:gd name="connsiteY66" fmla="*/ 176906 h 324150"/>
                    <a:gd name="connsiteX67" fmla="*/ 104872 w 677962"/>
                    <a:gd name="connsiteY67" fmla="*/ 94279 h 324150"/>
                    <a:gd name="connsiteX68" fmla="*/ 173728 w 677962"/>
                    <a:gd name="connsiteY68" fmla="*/ 94279 h 324150"/>
                    <a:gd name="connsiteX69" fmla="*/ 405718 w 677962"/>
                    <a:gd name="connsiteY69" fmla="*/ 0 h 32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77962" h="324150">
                      <a:moveTo>
                        <a:pt x="545547" y="212922"/>
                      </a:moveTo>
                      <a:cubicBezTo>
                        <a:pt x="521183" y="212922"/>
                        <a:pt x="501056" y="233049"/>
                        <a:pt x="501056" y="257414"/>
                      </a:cubicBezTo>
                      <a:cubicBezTo>
                        <a:pt x="501056" y="281778"/>
                        <a:pt x="521183" y="301905"/>
                        <a:pt x="545547" y="301905"/>
                      </a:cubicBezTo>
                      <a:cubicBezTo>
                        <a:pt x="569912" y="301905"/>
                        <a:pt x="590039" y="282837"/>
                        <a:pt x="590039" y="257414"/>
                      </a:cubicBezTo>
                      <a:cubicBezTo>
                        <a:pt x="590039" y="233049"/>
                        <a:pt x="569912" y="212922"/>
                        <a:pt x="545547" y="212922"/>
                      </a:cubicBezTo>
                      <a:close/>
                      <a:moveTo>
                        <a:pt x="156779" y="211863"/>
                      </a:moveTo>
                      <a:cubicBezTo>
                        <a:pt x="131355" y="211863"/>
                        <a:pt x="111228" y="231990"/>
                        <a:pt x="111228" y="257414"/>
                      </a:cubicBezTo>
                      <a:cubicBezTo>
                        <a:pt x="111228" y="282837"/>
                        <a:pt x="131355" y="302964"/>
                        <a:pt x="156779" y="302964"/>
                      </a:cubicBezTo>
                      <a:cubicBezTo>
                        <a:pt x="182202" y="302964"/>
                        <a:pt x="202329" y="282837"/>
                        <a:pt x="202329" y="257414"/>
                      </a:cubicBezTo>
                      <a:cubicBezTo>
                        <a:pt x="202329" y="231990"/>
                        <a:pt x="182202" y="211863"/>
                        <a:pt x="156779" y="211863"/>
                      </a:cubicBezTo>
                      <a:close/>
                      <a:moveTo>
                        <a:pt x="298726" y="162076"/>
                      </a:moveTo>
                      <a:lnTo>
                        <a:pt x="378175" y="162076"/>
                      </a:lnTo>
                      <a:cubicBezTo>
                        <a:pt x="384531" y="162076"/>
                        <a:pt x="388768" y="167373"/>
                        <a:pt x="388768" y="172669"/>
                      </a:cubicBezTo>
                      <a:cubicBezTo>
                        <a:pt x="388768" y="179025"/>
                        <a:pt x="384531" y="183262"/>
                        <a:pt x="378175" y="183262"/>
                      </a:cubicBezTo>
                      <a:lnTo>
                        <a:pt x="298726" y="183262"/>
                      </a:lnTo>
                      <a:cubicBezTo>
                        <a:pt x="292370" y="183262"/>
                        <a:pt x="288133" y="179025"/>
                        <a:pt x="288133" y="172669"/>
                      </a:cubicBezTo>
                      <a:cubicBezTo>
                        <a:pt x="288133" y="166313"/>
                        <a:pt x="292370" y="162076"/>
                        <a:pt x="298726" y="162076"/>
                      </a:cubicBezTo>
                      <a:close/>
                      <a:moveTo>
                        <a:pt x="84745" y="117584"/>
                      </a:moveTo>
                      <a:cubicBezTo>
                        <a:pt x="58262" y="124999"/>
                        <a:pt x="36017" y="144067"/>
                        <a:pt x="26483" y="170550"/>
                      </a:cubicBezTo>
                      <a:cubicBezTo>
                        <a:pt x="60381" y="171609"/>
                        <a:pt x="85805" y="146185"/>
                        <a:pt x="84745" y="117584"/>
                      </a:cubicBezTo>
                      <a:close/>
                      <a:moveTo>
                        <a:pt x="621818" y="115465"/>
                      </a:moveTo>
                      <a:lnTo>
                        <a:pt x="621818" y="135592"/>
                      </a:lnTo>
                      <a:cubicBezTo>
                        <a:pt x="621818" y="143008"/>
                        <a:pt x="628174" y="149363"/>
                        <a:pt x="635589" y="149363"/>
                      </a:cubicBezTo>
                      <a:lnTo>
                        <a:pt x="656775" y="149363"/>
                      </a:lnTo>
                      <a:cubicBezTo>
                        <a:pt x="656775" y="116525"/>
                        <a:pt x="622877" y="115465"/>
                        <a:pt x="621818" y="115465"/>
                      </a:cubicBezTo>
                      <a:close/>
                      <a:moveTo>
                        <a:pt x="104872" y="114406"/>
                      </a:moveTo>
                      <a:cubicBezTo>
                        <a:pt x="108050" y="159957"/>
                        <a:pt x="67796" y="194914"/>
                        <a:pt x="21186" y="190677"/>
                      </a:cubicBezTo>
                      <a:cubicBezTo>
                        <a:pt x="21186" y="199151"/>
                        <a:pt x="21186" y="197033"/>
                        <a:pt x="21186" y="246820"/>
                      </a:cubicBezTo>
                      <a:lnTo>
                        <a:pt x="91101" y="246820"/>
                      </a:lnTo>
                      <a:cubicBezTo>
                        <a:pt x="96398" y="215041"/>
                        <a:pt x="123940" y="190677"/>
                        <a:pt x="156779" y="190677"/>
                      </a:cubicBezTo>
                      <a:cubicBezTo>
                        <a:pt x="189617" y="190677"/>
                        <a:pt x="217160" y="215041"/>
                        <a:pt x="222456" y="246820"/>
                      </a:cubicBezTo>
                      <a:lnTo>
                        <a:pt x="480929" y="246820"/>
                      </a:lnTo>
                      <a:cubicBezTo>
                        <a:pt x="486226" y="216100"/>
                        <a:pt x="512709" y="191736"/>
                        <a:pt x="545547" y="191736"/>
                      </a:cubicBezTo>
                      <a:cubicBezTo>
                        <a:pt x="578386" y="191736"/>
                        <a:pt x="604869" y="216100"/>
                        <a:pt x="610166" y="246820"/>
                      </a:cubicBezTo>
                      <a:lnTo>
                        <a:pt x="655716" y="246820"/>
                      </a:lnTo>
                      <a:lnTo>
                        <a:pt x="655716" y="168431"/>
                      </a:lnTo>
                      <a:lnTo>
                        <a:pt x="634530" y="168431"/>
                      </a:lnTo>
                      <a:cubicBezTo>
                        <a:pt x="615462" y="168431"/>
                        <a:pt x="599572" y="152541"/>
                        <a:pt x="599572" y="133474"/>
                      </a:cubicBezTo>
                      <a:lnTo>
                        <a:pt x="599572" y="114406"/>
                      </a:lnTo>
                      <a:cubicBezTo>
                        <a:pt x="496819" y="114406"/>
                        <a:pt x="212922" y="114406"/>
                        <a:pt x="104872" y="114406"/>
                      </a:cubicBezTo>
                      <a:close/>
                      <a:moveTo>
                        <a:pt x="497878" y="37076"/>
                      </a:moveTo>
                      <a:lnTo>
                        <a:pt x="537073" y="94279"/>
                      </a:lnTo>
                      <a:lnTo>
                        <a:pt x="594276" y="94279"/>
                      </a:lnTo>
                      <a:cubicBezTo>
                        <a:pt x="591098" y="92160"/>
                        <a:pt x="557200" y="58262"/>
                        <a:pt x="497878" y="37076"/>
                      </a:cubicBezTo>
                      <a:close/>
                      <a:moveTo>
                        <a:pt x="352752" y="25424"/>
                      </a:moveTo>
                      <a:cubicBezTo>
                        <a:pt x="270125" y="40254"/>
                        <a:pt x="224575" y="84745"/>
                        <a:pt x="209744" y="93220"/>
                      </a:cubicBezTo>
                      <a:lnTo>
                        <a:pt x="352752" y="93220"/>
                      </a:lnTo>
                      <a:close/>
                      <a:moveTo>
                        <a:pt x="404658" y="20127"/>
                      </a:moveTo>
                      <a:cubicBezTo>
                        <a:pt x="394065" y="20127"/>
                        <a:pt x="384531" y="21186"/>
                        <a:pt x="373938" y="22246"/>
                      </a:cubicBezTo>
                      <a:lnTo>
                        <a:pt x="373938" y="93220"/>
                      </a:lnTo>
                      <a:lnTo>
                        <a:pt x="511649" y="93220"/>
                      </a:lnTo>
                      <a:lnTo>
                        <a:pt x="466099" y="27542"/>
                      </a:lnTo>
                      <a:cubicBezTo>
                        <a:pt x="445972" y="23305"/>
                        <a:pt x="425845" y="21186"/>
                        <a:pt x="404658" y="20127"/>
                      </a:cubicBezTo>
                      <a:close/>
                      <a:moveTo>
                        <a:pt x="405718" y="0"/>
                      </a:moveTo>
                      <a:cubicBezTo>
                        <a:pt x="542369" y="0"/>
                        <a:pt x="615462" y="86864"/>
                        <a:pt x="627115" y="94279"/>
                      </a:cubicBezTo>
                      <a:cubicBezTo>
                        <a:pt x="655716" y="96398"/>
                        <a:pt x="677962" y="120762"/>
                        <a:pt x="677962" y="149363"/>
                      </a:cubicBezTo>
                      <a:cubicBezTo>
                        <a:pt x="677962" y="179024"/>
                        <a:pt x="677962" y="242583"/>
                        <a:pt x="677962" y="257414"/>
                      </a:cubicBezTo>
                      <a:cubicBezTo>
                        <a:pt x="677962" y="263769"/>
                        <a:pt x="673724" y="268007"/>
                        <a:pt x="667369" y="268007"/>
                      </a:cubicBezTo>
                      <a:lnTo>
                        <a:pt x="610166" y="268007"/>
                      </a:lnTo>
                      <a:cubicBezTo>
                        <a:pt x="604869" y="298727"/>
                        <a:pt x="578386" y="323091"/>
                        <a:pt x="545547" y="323091"/>
                      </a:cubicBezTo>
                      <a:cubicBezTo>
                        <a:pt x="512709" y="323091"/>
                        <a:pt x="486226" y="298727"/>
                        <a:pt x="480929" y="268007"/>
                      </a:cubicBezTo>
                      <a:lnTo>
                        <a:pt x="222456" y="268007"/>
                      </a:lnTo>
                      <a:cubicBezTo>
                        <a:pt x="217160" y="299786"/>
                        <a:pt x="189617" y="324150"/>
                        <a:pt x="156779" y="324150"/>
                      </a:cubicBezTo>
                      <a:cubicBezTo>
                        <a:pt x="123940" y="324150"/>
                        <a:pt x="96398" y="299786"/>
                        <a:pt x="91101" y="268007"/>
                      </a:cubicBezTo>
                      <a:lnTo>
                        <a:pt x="10593" y="268007"/>
                      </a:lnTo>
                      <a:cubicBezTo>
                        <a:pt x="4237" y="268007"/>
                        <a:pt x="0" y="263769"/>
                        <a:pt x="0" y="257414"/>
                      </a:cubicBezTo>
                      <a:cubicBezTo>
                        <a:pt x="1059" y="202329"/>
                        <a:pt x="-1059" y="194914"/>
                        <a:pt x="2119" y="176906"/>
                      </a:cubicBezTo>
                      <a:cubicBezTo>
                        <a:pt x="12712" y="129236"/>
                        <a:pt x="55084" y="94279"/>
                        <a:pt x="104872" y="94279"/>
                      </a:cubicBezTo>
                      <a:lnTo>
                        <a:pt x="173728" y="94279"/>
                      </a:lnTo>
                      <a:cubicBezTo>
                        <a:pt x="204448" y="76271"/>
                        <a:pt x="274363" y="0"/>
                        <a:pt x="405718" y="0"/>
                      </a:cubicBezTo>
                      <a:close/>
                    </a:path>
                  </a:pathLst>
                </a:custGeom>
                <a:solidFill>
                  <a:srgbClr val="23417E"/>
                </a:solidFill>
                <a:ln w="317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grpSp>
      <p:sp>
        <p:nvSpPr>
          <p:cNvPr id="16" name="masterFootnote">
            <a:extLst>
              <a:ext uri="{FF2B5EF4-FFF2-40B4-BE49-F238E27FC236}">
                <a16:creationId xmlns:a16="http://schemas.microsoft.com/office/drawing/2014/main" id="{D623C1F8-C3C9-6734-9C27-25B2B47DD7C6}"/>
              </a:ext>
            </a:extLst>
          </p:cNvPr>
          <p:cNvSpPr txBox="1"/>
          <p:nvPr/>
        </p:nvSpPr>
        <p:spPr>
          <a:xfrm>
            <a:off x="371475" y="6181563"/>
            <a:ext cx="0" cy="144000"/>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mn-cs"/>
              </a:rPr>
              <a:t>(1) By 2030</a:t>
            </a:r>
          </a:p>
        </p:txBody>
      </p:sp>
      <p:grpSp>
        <p:nvGrpSpPr>
          <p:cNvPr id="18" name="easyIcon">
            <a:extLst>
              <a:ext uri="{FF2B5EF4-FFF2-40B4-BE49-F238E27FC236}">
                <a16:creationId xmlns:a16="http://schemas.microsoft.com/office/drawing/2014/main" id="{1926D820-DAEF-65BE-2F92-DCC996D1C894}"/>
              </a:ext>
            </a:extLst>
          </p:cNvPr>
          <p:cNvGrpSpPr>
            <a:grpSpLocks noChangeAspect="1"/>
          </p:cNvGrpSpPr>
          <p:nvPr>
            <p:custDataLst>
              <p:tags r:id="rId3"/>
            </p:custDataLst>
          </p:nvPr>
        </p:nvGrpSpPr>
        <p:grpSpPr>
          <a:xfrm>
            <a:off x="6813537" y="2012004"/>
            <a:ext cx="538601" cy="538599"/>
            <a:chOff x="9777684" y="1605772"/>
            <a:chExt cx="714052" cy="714051"/>
          </a:xfrm>
        </p:grpSpPr>
        <p:sp>
          <p:nvSpPr>
            <p:cNvPr id="19" name="Background">
              <a:extLst>
                <a:ext uri="{FF2B5EF4-FFF2-40B4-BE49-F238E27FC236}">
                  <a16:creationId xmlns:a16="http://schemas.microsoft.com/office/drawing/2014/main" id="{A51CFDBA-6AE6-00A1-FC4F-40985E409446}"/>
                </a:ext>
              </a:extLst>
            </p:cNvPr>
            <p:cNvSpPr/>
            <p:nvPr/>
          </p:nvSpPr>
          <p:spPr>
            <a:xfrm>
              <a:off x="9777684" y="1605772"/>
              <a:ext cx="714052" cy="71405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20" name="Vector">
              <a:extLst>
                <a:ext uri="{FF2B5EF4-FFF2-40B4-BE49-F238E27FC236}">
                  <a16:creationId xmlns:a16="http://schemas.microsoft.com/office/drawing/2014/main" id="{16DD8C7E-ED85-D901-BFFD-8E8710DA4EF5}"/>
                </a:ext>
              </a:extLst>
            </p:cNvPr>
            <p:cNvSpPr>
              <a:spLocks noChangeAspect="1"/>
            </p:cNvSpPr>
            <p:nvPr/>
          </p:nvSpPr>
          <p:spPr bwMode="gray">
            <a:xfrm>
              <a:off x="9846710" y="1729655"/>
              <a:ext cx="576001" cy="466285"/>
            </a:xfrm>
            <a:custGeom>
              <a:avLst/>
              <a:gdLst>
                <a:gd name="connsiteX0" fmla="*/ 14566 w 611755"/>
                <a:gd name="connsiteY0" fmla="*/ 466098 h 495229"/>
                <a:gd name="connsiteX1" fmla="*/ 597189 w 611755"/>
                <a:gd name="connsiteY1" fmla="*/ 466098 h 495229"/>
                <a:gd name="connsiteX2" fmla="*/ 611755 w 611755"/>
                <a:gd name="connsiteY2" fmla="*/ 480664 h 495229"/>
                <a:gd name="connsiteX3" fmla="*/ 597189 w 611755"/>
                <a:gd name="connsiteY3" fmla="*/ 495229 h 495229"/>
                <a:gd name="connsiteX4" fmla="*/ 14566 w 611755"/>
                <a:gd name="connsiteY4" fmla="*/ 495229 h 495229"/>
                <a:gd name="connsiteX5" fmla="*/ 0 w 611755"/>
                <a:gd name="connsiteY5" fmla="*/ 480664 h 495229"/>
                <a:gd name="connsiteX6" fmla="*/ 14566 w 611755"/>
                <a:gd name="connsiteY6" fmla="*/ 466098 h 495229"/>
                <a:gd name="connsiteX7" fmla="*/ 451533 w 611755"/>
                <a:gd name="connsiteY7" fmla="*/ 262180 h 495229"/>
                <a:gd name="connsiteX8" fmla="*/ 480664 w 611755"/>
                <a:gd name="connsiteY8" fmla="*/ 291311 h 495229"/>
                <a:gd name="connsiteX9" fmla="*/ 451533 w 611755"/>
                <a:gd name="connsiteY9" fmla="*/ 320442 h 495229"/>
                <a:gd name="connsiteX10" fmla="*/ 422402 w 611755"/>
                <a:gd name="connsiteY10" fmla="*/ 291311 h 495229"/>
                <a:gd name="connsiteX11" fmla="*/ 451533 w 611755"/>
                <a:gd name="connsiteY11" fmla="*/ 262180 h 495229"/>
                <a:gd name="connsiteX12" fmla="*/ 236836 w 611755"/>
                <a:gd name="connsiteY12" fmla="*/ 36414 h 495229"/>
                <a:gd name="connsiteX13" fmla="*/ 295099 w 611755"/>
                <a:gd name="connsiteY13" fmla="*/ 145656 h 495229"/>
                <a:gd name="connsiteX14" fmla="*/ 295099 w 611755"/>
                <a:gd name="connsiteY14" fmla="*/ 146238 h 495229"/>
                <a:gd name="connsiteX15" fmla="*/ 503969 w 611755"/>
                <a:gd name="connsiteY15" fmla="*/ 205375 h 495229"/>
                <a:gd name="connsiteX16" fmla="*/ 236836 w 611755"/>
                <a:gd name="connsiteY16" fmla="*/ 36414 h 495229"/>
                <a:gd name="connsiteX17" fmla="*/ 14566 w 611755"/>
                <a:gd name="connsiteY17" fmla="*/ 0 h 495229"/>
                <a:gd name="connsiteX18" fmla="*/ 189353 w 611755"/>
                <a:gd name="connsiteY18" fmla="*/ 0 h 495229"/>
                <a:gd name="connsiteX19" fmla="*/ 611755 w 611755"/>
                <a:gd name="connsiteY19" fmla="*/ 335008 h 495229"/>
                <a:gd name="connsiteX20" fmla="*/ 480664 w 611755"/>
                <a:gd name="connsiteY20" fmla="*/ 436968 h 495229"/>
                <a:gd name="connsiteX21" fmla="*/ 14566 w 611755"/>
                <a:gd name="connsiteY21" fmla="*/ 436968 h 495229"/>
                <a:gd name="connsiteX22" fmla="*/ 0 w 611755"/>
                <a:gd name="connsiteY22" fmla="*/ 422402 h 495229"/>
                <a:gd name="connsiteX23" fmla="*/ 14566 w 611755"/>
                <a:gd name="connsiteY23" fmla="*/ 407836 h 495229"/>
                <a:gd name="connsiteX24" fmla="*/ 480664 w 611755"/>
                <a:gd name="connsiteY24" fmla="*/ 407836 h 495229"/>
                <a:gd name="connsiteX25" fmla="*/ 582623 w 611755"/>
                <a:gd name="connsiteY25" fmla="*/ 335008 h 495229"/>
                <a:gd name="connsiteX26" fmla="*/ 528731 w 611755"/>
                <a:gd name="connsiteY26" fmla="*/ 232175 h 495229"/>
                <a:gd name="connsiteX27" fmla="*/ 485325 w 611755"/>
                <a:gd name="connsiteY27" fmla="*/ 234215 h 495229"/>
                <a:gd name="connsiteX28" fmla="*/ 274998 w 611755"/>
                <a:gd name="connsiteY28" fmla="*/ 166048 h 495229"/>
                <a:gd name="connsiteX29" fmla="*/ 205083 w 611755"/>
                <a:gd name="connsiteY29" fmla="*/ 29131 h 495229"/>
                <a:gd name="connsiteX30" fmla="*/ 189353 w 611755"/>
                <a:gd name="connsiteY30" fmla="*/ 29131 h 495229"/>
                <a:gd name="connsiteX31" fmla="*/ 119729 w 611755"/>
                <a:gd name="connsiteY31" fmla="*/ 29131 h 495229"/>
                <a:gd name="connsiteX32" fmla="*/ 145365 w 611755"/>
                <a:gd name="connsiteY32" fmla="*/ 156143 h 495229"/>
                <a:gd name="connsiteX33" fmla="*/ 43697 w 611755"/>
                <a:gd name="connsiteY33" fmla="*/ 231884 h 495229"/>
                <a:gd name="connsiteX34" fmla="*/ 29131 w 611755"/>
                <a:gd name="connsiteY34" fmla="*/ 217319 h 495229"/>
                <a:gd name="connsiteX35" fmla="*/ 43697 w 611755"/>
                <a:gd name="connsiteY35" fmla="*/ 202753 h 495229"/>
                <a:gd name="connsiteX36" fmla="*/ 116525 w 611755"/>
                <a:gd name="connsiteY36" fmla="*/ 160221 h 495229"/>
                <a:gd name="connsiteX37" fmla="*/ 90015 w 611755"/>
                <a:gd name="connsiteY37" fmla="*/ 29131 h 495229"/>
                <a:gd name="connsiteX38" fmla="*/ 14566 w 611755"/>
                <a:gd name="connsiteY38" fmla="*/ 29131 h 495229"/>
                <a:gd name="connsiteX39" fmla="*/ 0 w 611755"/>
                <a:gd name="connsiteY39" fmla="*/ 14566 h 495229"/>
                <a:gd name="connsiteX40" fmla="*/ 14566 w 611755"/>
                <a:gd name="connsiteY40" fmla="*/ 0 h 49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1755" h="495229">
                  <a:moveTo>
                    <a:pt x="14566" y="466098"/>
                  </a:moveTo>
                  <a:lnTo>
                    <a:pt x="597189" y="466098"/>
                  </a:lnTo>
                  <a:cubicBezTo>
                    <a:pt x="605232" y="466098"/>
                    <a:pt x="611755" y="472620"/>
                    <a:pt x="611755" y="480664"/>
                  </a:cubicBezTo>
                  <a:cubicBezTo>
                    <a:pt x="611755" y="488707"/>
                    <a:pt x="605232" y="495229"/>
                    <a:pt x="597189" y="495229"/>
                  </a:cubicBezTo>
                  <a:lnTo>
                    <a:pt x="14566" y="495229"/>
                  </a:lnTo>
                  <a:cubicBezTo>
                    <a:pt x="6521" y="495229"/>
                    <a:pt x="0" y="488707"/>
                    <a:pt x="0" y="480664"/>
                  </a:cubicBezTo>
                  <a:cubicBezTo>
                    <a:pt x="0" y="472620"/>
                    <a:pt x="6521" y="466098"/>
                    <a:pt x="14566" y="466098"/>
                  </a:cubicBezTo>
                  <a:close/>
                  <a:moveTo>
                    <a:pt x="451533" y="262180"/>
                  </a:moveTo>
                  <a:cubicBezTo>
                    <a:pt x="467622" y="262180"/>
                    <a:pt x="480664" y="275222"/>
                    <a:pt x="480664" y="291311"/>
                  </a:cubicBezTo>
                  <a:cubicBezTo>
                    <a:pt x="480664" y="307400"/>
                    <a:pt x="467622" y="320442"/>
                    <a:pt x="451533" y="320442"/>
                  </a:cubicBezTo>
                  <a:cubicBezTo>
                    <a:pt x="435444" y="320442"/>
                    <a:pt x="422402" y="307400"/>
                    <a:pt x="422402" y="291311"/>
                  </a:cubicBezTo>
                  <a:cubicBezTo>
                    <a:pt x="422402" y="275222"/>
                    <a:pt x="435444" y="262180"/>
                    <a:pt x="451533" y="262180"/>
                  </a:cubicBezTo>
                  <a:close/>
                  <a:moveTo>
                    <a:pt x="236836" y="36414"/>
                  </a:moveTo>
                  <a:cubicBezTo>
                    <a:pt x="243887" y="78186"/>
                    <a:pt x="264336" y="116530"/>
                    <a:pt x="295099" y="145656"/>
                  </a:cubicBezTo>
                  <a:lnTo>
                    <a:pt x="295099" y="146238"/>
                  </a:lnTo>
                  <a:cubicBezTo>
                    <a:pt x="342000" y="189353"/>
                    <a:pt x="411915" y="209162"/>
                    <a:pt x="503969" y="205375"/>
                  </a:cubicBezTo>
                  <a:cubicBezTo>
                    <a:pt x="427986" y="130657"/>
                    <a:pt x="336905" y="73049"/>
                    <a:pt x="236836" y="36414"/>
                  </a:cubicBezTo>
                  <a:close/>
                  <a:moveTo>
                    <a:pt x="14566" y="0"/>
                  </a:moveTo>
                  <a:lnTo>
                    <a:pt x="189353" y="0"/>
                  </a:lnTo>
                  <a:cubicBezTo>
                    <a:pt x="308499" y="0"/>
                    <a:pt x="611755" y="205375"/>
                    <a:pt x="611755" y="335008"/>
                  </a:cubicBezTo>
                  <a:cubicBezTo>
                    <a:pt x="611755" y="404923"/>
                    <a:pt x="543879" y="436968"/>
                    <a:pt x="480664" y="436968"/>
                  </a:cubicBezTo>
                  <a:lnTo>
                    <a:pt x="14566" y="436968"/>
                  </a:lnTo>
                  <a:cubicBezTo>
                    <a:pt x="6521" y="436968"/>
                    <a:pt x="0" y="430445"/>
                    <a:pt x="0" y="422402"/>
                  </a:cubicBezTo>
                  <a:cubicBezTo>
                    <a:pt x="0" y="414359"/>
                    <a:pt x="6521" y="407836"/>
                    <a:pt x="14566" y="407836"/>
                  </a:cubicBezTo>
                  <a:lnTo>
                    <a:pt x="480664" y="407836"/>
                  </a:lnTo>
                  <a:cubicBezTo>
                    <a:pt x="529896" y="407836"/>
                    <a:pt x="582623" y="385114"/>
                    <a:pt x="582623" y="335008"/>
                  </a:cubicBezTo>
                  <a:cubicBezTo>
                    <a:pt x="576902" y="295591"/>
                    <a:pt x="557888" y="259311"/>
                    <a:pt x="528731" y="232175"/>
                  </a:cubicBezTo>
                  <a:cubicBezTo>
                    <a:pt x="514456" y="234215"/>
                    <a:pt x="499308" y="234215"/>
                    <a:pt x="485325" y="234215"/>
                  </a:cubicBezTo>
                  <a:cubicBezTo>
                    <a:pt x="395310" y="234215"/>
                    <a:pt x="324521" y="211201"/>
                    <a:pt x="274998" y="166048"/>
                  </a:cubicBezTo>
                  <a:cubicBezTo>
                    <a:pt x="236191" y="130146"/>
                    <a:pt x="211410" y="81618"/>
                    <a:pt x="205083" y="29131"/>
                  </a:cubicBezTo>
                  <a:cubicBezTo>
                    <a:pt x="199843" y="28856"/>
                    <a:pt x="194593" y="28856"/>
                    <a:pt x="189353" y="29131"/>
                  </a:cubicBezTo>
                  <a:lnTo>
                    <a:pt x="119729" y="29131"/>
                  </a:lnTo>
                  <a:lnTo>
                    <a:pt x="145365" y="156143"/>
                  </a:lnTo>
                  <a:cubicBezTo>
                    <a:pt x="145656" y="159639"/>
                    <a:pt x="144491" y="231884"/>
                    <a:pt x="43697" y="231884"/>
                  </a:cubicBezTo>
                  <a:cubicBezTo>
                    <a:pt x="35652" y="231884"/>
                    <a:pt x="29131" y="225362"/>
                    <a:pt x="29131" y="217319"/>
                  </a:cubicBezTo>
                  <a:cubicBezTo>
                    <a:pt x="29131" y="209275"/>
                    <a:pt x="35652" y="202753"/>
                    <a:pt x="43697" y="202753"/>
                  </a:cubicBezTo>
                  <a:cubicBezTo>
                    <a:pt x="108951" y="202753"/>
                    <a:pt x="116525" y="168087"/>
                    <a:pt x="116525" y="160221"/>
                  </a:cubicBezTo>
                  <a:lnTo>
                    <a:pt x="90015" y="29131"/>
                  </a:lnTo>
                  <a:lnTo>
                    <a:pt x="14566" y="29131"/>
                  </a:lnTo>
                  <a:cubicBezTo>
                    <a:pt x="6521" y="29131"/>
                    <a:pt x="0" y="22610"/>
                    <a:pt x="0" y="14566"/>
                  </a:cubicBezTo>
                  <a:cubicBezTo>
                    <a:pt x="0" y="6521"/>
                    <a:pt x="6521" y="0"/>
                    <a:pt x="14566" y="0"/>
                  </a:cubicBezTo>
                  <a:close/>
                </a:path>
              </a:pathLst>
            </a:custGeom>
            <a:solidFill>
              <a:schemeClr val="tx1"/>
            </a:solidFill>
            <a:ln w="2897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nvGrpSpPr>
          <p:cNvPr id="21" name="Group 20">
            <a:extLst>
              <a:ext uri="{FF2B5EF4-FFF2-40B4-BE49-F238E27FC236}">
                <a16:creationId xmlns:a16="http://schemas.microsoft.com/office/drawing/2014/main" id="{136F206D-FDCA-1512-0CB4-59FAB395AA77}"/>
              </a:ext>
            </a:extLst>
          </p:cNvPr>
          <p:cNvGrpSpPr/>
          <p:nvPr/>
        </p:nvGrpSpPr>
        <p:grpSpPr>
          <a:xfrm>
            <a:off x="539988" y="1875399"/>
            <a:ext cx="5233040" cy="914400"/>
            <a:chOff x="539988" y="1875399"/>
            <a:chExt cx="5233040" cy="914400"/>
          </a:xfrm>
        </p:grpSpPr>
        <p:grpSp>
          <p:nvGrpSpPr>
            <p:cNvPr id="13" name="Group 12">
              <a:extLst>
                <a:ext uri="{FF2B5EF4-FFF2-40B4-BE49-F238E27FC236}">
                  <a16:creationId xmlns:a16="http://schemas.microsoft.com/office/drawing/2014/main" id="{E0C88A0B-BAE0-FA6A-DB62-119EBEF71DF8}"/>
                </a:ext>
              </a:extLst>
            </p:cNvPr>
            <p:cNvGrpSpPr/>
            <p:nvPr/>
          </p:nvGrpSpPr>
          <p:grpSpPr>
            <a:xfrm>
              <a:off x="539988" y="1875399"/>
              <a:ext cx="914400" cy="914400"/>
              <a:chOff x="539988" y="1966839"/>
              <a:chExt cx="914400" cy="914400"/>
            </a:xfrm>
          </p:grpSpPr>
          <p:grpSp>
            <p:nvGrpSpPr>
              <p:cNvPr id="173" name="Group 172" descr="Image of mechanical arm bending to represent state of the art practices ">
                <a:extLst>
                  <a:ext uri="{FF2B5EF4-FFF2-40B4-BE49-F238E27FC236}">
                    <a16:creationId xmlns:a16="http://schemas.microsoft.com/office/drawing/2014/main" id="{37764EA0-0696-037A-3DB3-649FC65380F1}"/>
                  </a:ext>
                </a:extLst>
              </p:cNvPr>
              <p:cNvGrpSpPr/>
              <p:nvPr/>
            </p:nvGrpSpPr>
            <p:grpSpPr>
              <a:xfrm>
                <a:off x="539988" y="1966839"/>
                <a:ext cx="914400" cy="914400"/>
                <a:chOff x="641256" y="1416679"/>
                <a:chExt cx="1299786" cy="1299786"/>
              </a:xfrm>
            </p:grpSpPr>
            <p:sp>
              <p:nvSpPr>
                <p:cNvPr id="177" name="Oval 176">
                  <a:extLst>
                    <a:ext uri="{FF2B5EF4-FFF2-40B4-BE49-F238E27FC236}">
                      <a16:creationId xmlns:a16="http://schemas.microsoft.com/office/drawing/2014/main" id="{0BE5D80B-DD55-73AC-586F-2944D34C91B0}"/>
                    </a:ext>
                  </a:extLst>
                </p:cNvPr>
                <p:cNvSpPr/>
                <p:nvPr/>
              </p:nvSpPr>
              <p:spPr>
                <a:xfrm>
                  <a:off x="641256" y="1416679"/>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178" name="Textplatzhalter 6">
                  <a:extLst>
                    <a:ext uri="{FF2B5EF4-FFF2-40B4-BE49-F238E27FC236}">
                      <a16:creationId xmlns:a16="http://schemas.microsoft.com/office/drawing/2014/main" id="{E8BD6878-436A-C1A4-C2A4-BD72840EAD27}"/>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117" name="easyIcon">
                <a:extLst>
                  <a:ext uri="{FF2B5EF4-FFF2-40B4-BE49-F238E27FC236}">
                    <a16:creationId xmlns:a16="http://schemas.microsoft.com/office/drawing/2014/main" id="{2F9C24D1-815A-0F1D-900B-1C5D7D36F43B}"/>
                  </a:ext>
                </a:extLst>
              </p:cNvPr>
              <p:cNvGrpSpPr>
                <a:grpSpLocks noChangeAspect="1"/>
              </p:cNvGrpSpPr>
              <p:nvPr>
                <p:custDataLst>
                  <p:tags r:id="rId7"/>
                </p:custDataLst>
              </p:nvPr>
            </p:nvGrpSpPr>
            <p:grpSpPr>
              <a:xfrm>
                <a:off x="739163" y="2067416"/>
                <a:ext cx="516050" cy="598947"/>
                <a:chOff x="144312" y="144311"/>
                <a:chExt cx="648001" cy="648000"/>
              </a:xfrm>
            </p:grpSpPr>
            <p:sp>
              <p:nvSpPr>
                <p:cNvPr id="124" name="Background">
                  <a:extLst>
                    <a:ext uri="{FF2B5EF4-FFF2-40B4-BE49-F238E27FC236}">
                      <a16:creationId xmlns:a16="http://schemas.microsoft.com/office/drawing/2014/main" id="{86E3522E-28DF-52CB-D677-EFE90F58E117}"/>
                    </a:ext>
                  </a:extLst>
                </p:cNvPr>
                <p:cNvSpPr>
                  <a:spLocks/>
                </p:cNvSpPr>
                <p:nvPr/>
              </p:nvSpPr>
              <p:spPr>
                <a:xfrm>
                  <a:off x="144312" y="144311"/>
                  <a:ext cx="648001" cy="648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D800"/>
                      </a:solidFill>
                    </a14:hiddenFill>
                  </a:ext>
                  <a:ext uri="{91240B29-F687-4F45-9708-019B960494DF}">
                    <a14:hiddenLine xmlns:a14="http://schemas.microsoft.com/office/drawing/2010/main" w="9525" cap="flat" cmpd="sng" algn="ctr">
                      <a:solidFill>
                        <a:srgbClr val="FFD8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pic>
              <p:nvPicPr>
                <p:cNvPr id="131" name="Graphic 130">
                  <a:extLst>
                    <a:ext uri="{FF2B5EF4-FFF2-40B4-BE49-F238E27FC236}">
                      <a16:creationId xmlns:a16="http://schemas.microsoft.com/office/drawing/2014/main" id="{D1DA9020-A9E4-3A15-D262-1D37F8036E8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xmlns="" r:embed="rId14"/>
                    </a:ext>
                  </a:extLst>
                </a:blip>
                <a:stretch>
                  <a:fillRect/>
                </a:stretch>
              </p:blipFill>
              <p:spPr>
                <a:xfrm>
                  <a:off x="145631" y="145631"/>
                  <a:ext cx="645362" cy="645360"/>
                </a:xfrm>
                <a:prstGeom prst="rect">
                  <a:avLst/>
                </a:prstGeom>
              </p:spPr>
            </p:pic>
          </p:grpSp>
        </p:grpSp>
        <p:sp>
          <p:nvSpPr>
            <p:cNvPr id="137" name="Textbox">
              <a:extLst>
                <a:ext uri="{FF2B5EF4-FFF2-40B4-BE49-F238E27FC236}">
                  <a16:creationId xmlns:a16="http://schemas.microsoft.com/office/drawing/2014/main" id="{609DB36D-558E-F5ED-5994-7E2E99137AEB}"/>
                </a:ext>
              </a:extLst>
            </p:cNvPr>
            <p:cNvSpPr txBox="1">
              <a:spLocks/>
            </p:cNvSpPr>
            <p:nvPr/>
          </p:nvSpPr>
          <p:spPr>
            <a:xfrm>
              <a:off x="1922519" y="1966839"/>
              <a:ext cx="3850509" cy="73152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4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6 </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High-Speed Rail trainsets for Central Valley Service</a:t>
              </a:r>
              <a:endPar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cxnSp>
          <p:nvCxnSpPr>
            <p:cNvPr id="5130" name="Straight Connector 5129">
              <a:extLst>
                <a:ext uri="{FF2B5EF4-FFF2-40B4-BE49-F238E27FC236}">
                  <a16:creationId xmlns:a16="http://schemas.microsoft.com/office/drawing/2014/main" id="{61F8B5BF-881D-B22F-6CE3-2B69CD52AF2B}"/>
                </a:ext>
              </a:extLst>
            </p:cNvPr>
            <p:cNvCxnSpPr>
              <a:cxnSpLocks/>
            </p:cNvCxnSpPr>
            <p:nvPr/>
          </p:nvCxnSpPr>
          <p:spPr>
            <a:xfrm rot="10800000">
              <a:off x="1732509" y="1966839"/>
              <a:ext cx="0" cy="73152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31" name="Straight Connector 5130">
              <a:extLst>
                <a:ext uri="{FF2B5EF4-FFF2-40B4-BE49-F238E27FC236}">
                  <a16:creationId xmlns:a16="http://schemas.microsoft.com/office/drawing/2014/main" id="{13893CD7-0EF7-9310-C6B2-4D5270C95EED}"/>
                </a:ext>
              </a:extLst>
            </p:cNvPr>
            <p:cNvCxnSpPr>
              <a:cxnSpLocks/>
            </p:cNvCxnSpPr>
            <p:nvPr/>
          </p:nvCxnSpPr>
          <p:spPr>
            <a:xfrm rot="10800000">
              <a:off x="1458189" y="2332599"/>
              <a:ext cx="274320" cy="0"/>
            </a:xfrm>
            <a:prstGeom prst="line">
              <a:avLst/>
            </a:prstGeom>
            <a:ln>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3402A7FD-8F4C-A207-1E20-B580FECE9507}"/>
              </a:ext>
            </a:extLst>
          </p:cNvPr>
          <p:cNvGrpSpPr/>
          <p:nvPr/>
        </p:nvGrpSpPr>
        <p:grpSpPr>
          <a:xfrm>
            <a:off x="539988" y="2771927"/>
            <a:ext cx="5233040" cy="3146785"/>
            <a:chOff x="539988" y="2771927"/>
            <a:chExt cx="5233040" cy="3146785"/>
          </a:xfrm>
        </p:grpSpPr>
        <p:sp>
          <p:nvSpPr>
            <p:cNvPr id="135" name="Textbox">
              <a:extLst>
                <a:ext uri="{FF2B5EF4-FFF2-40B4-BE49-F238E27FC236}">
                  <a16:creationId xmlns:a16="http://schemas.microsoft.com/office/drawing/2014/main" id="{4090C29B-3BC7-B4FD-134B-F6853F708E4C}"/>
                </a:ext>
              </a:extLst>
            </p:cNvPr>
            <p:cNvSpPr txBox="1">
              <a:spLocks/>
            </p:cNvSpPr>
            <p:nvPr/>
          </p:nvSpPr>
          <p:spPr>
            <a:xfrm>
              <a:off x="1922519" y="3577015"/>
              <a:ext cx="3850509" cy="73152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18 daily roundtrips </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from 5 a.m. to midnight</a:t>
              </a:r>
              <a:endPar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sp>
          <p:nvSpPr>
            <p:cNvPr id="136" name="Textbox">
              <a:extLst>
                <a:ext uri="{FF2B5EF4-FFF2-40B4-BE49-F238E27FC236}">
                  <a16:creationId xmlns:a16="http://schemas.microsoft.com/office/drawing/2014/main" id="{5F5B346E-3E97-B079-D818-6D8755137D3A}"/>
                </a:ext>
              </a:extLst>
            </p:cNvPr>
            <p:cNvSpPr txBox="1">
              <a:spLocks/>
            </p:cNvSpPr>
            <p:nvPr/>
          </p:nvSpPr>
          <p:spPr>
            <a:xfrm>
              <a:off x="1922519" y="4382103"/>
              <a:ext cx="3850509" cy="73152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Seamless</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 rail-to-rail and rail-to-bus transfers</a:t>
              </a:r>
            </a:p>
          </p:txBody>
        </p:sp>
        <p:grpSp>
          <p:nvGrpSpPr>
            <p:cNvPr id="5120" name="Group 5119">
              <a:extLst>
                <a:ext uri="{FF2B5EF4-FFF2-40B4-BE49-F238E27FC236}">
                  <a16:creationId xmlns:a16="http://schemas.microsoft.com/office/drawing/2014/main" id="{055B718E-65EC-76B5-E5BA-FF865BE6A509}"/>
                </a:ext>
              </a:extLst>
            </p:cNvPr>
            <p:cNvGrpSpPr/>
            <p:nvPr/>
          </p:nvGrpSpPr>
          <p:grpSpPr>
            <a:xfrm>
              <a:off x="539988" y="3869207"/>
              <a:ext cx="914400" cy="914400"/>
              <a:chOff x="1910504" y="2116132"/>
              <a:chExt cx="914400" cy="914400"/>
            </a:xfrm>
          </p:grpSpPr>
          <p:grpSp>
            <p:nvGrpSpPr>
              <p:cNvPr id="185" name="Group 184" descr="Image of mechanical arm bending to represent state of the art practices ">
                <a:extLst>
                  <a:ext uri="{FF2B5EF4-FFF2-40B4-BE49-F238E27FC236}">
                    <a16:creationId xmlns:a16="http://schemas.microsoft.com/office/drawing/2014/main" id="{1022039F-98CD-5180-623D-6E4FC1D1F712}"/>
                  </a:ext>
                </a:extLst>
              </p:cNvPr>
              <p:cNvGrpSpPr/>
              <p:nvPr/>
            </p:nvGrpSpPr>
            <p:grpSpPr>
              <a:xfrm>
                <a:off x="1910504" y="2116132"/>
                <a:ext cx="914400" cy="914400"/>
                <a:chOff x="641256" y="1416677"/>
                <a:chExt cx="1299786" cy="1299786"/>
              </a:xfrm>
            </p:grpSpPr>
            <p:sp>
              <p:nvSpPr>
                <p:cNvPr id="190" name="Oval 189">
                  <a:extLst>
                    <a:ext uri="{FF2B5EF4-FFF2-40B4-BE49-F238E27FC236}">
                      <a16:creationId xmlns:a16="http://schemas.microsoft.com/office/drawing/2014/main" id="{3D49EFA9-03A1-D26B-963E-47D617EB0B3C}"/>
                    </a:ext>
                  </a:extLst>
                </p:cNvPr>
                <p:cNvSpPr/>
                <p:nvPr/>
              </p:nvSpPr>
              <p:spPr>
                <a:xfrm>
                  <a:off x="641256" y="1416677"/>
                  <a:ext cx="1299786" cy="1299786"/>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r>
                    <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rPr>
                    <a:t>`</a:t>
                  </a:r>
                </a:p>
              </p:txBody>
            </p:sp>
            <p:sp>
              <p:nvSpPr>
                <p:cNvPr id="191" name="Textplatzhalter 6">
                  <a:extLst>
                    <a:ext uri="{FF2B5EF4-FFF2-40B4-BE49-F238E27FC236}">
                      <a16:creationId xmlns:a16="http://schemas.microsoft.com/office/drawing/2014/main" id="{D03856DD-63D8-C1C8-9356-DE4247A675E1}"/>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132" name="easyIcon">
                <a:extLst>
                  <a:ext uri="{FF2B5EF4-FFF2-40B4-BE49-F238E27FC236}">
                    <a16:creationId xmlns:a16="http://schemas.microsoft.com/office/drawing/2014/main" id="{EB7330EB-6FD9-FCE2-4756-AFEA20BB6D41}"/>
                  </a:ext>
                </a:extLst>
              </p:cNvPr>
              <p:cNvGrpSpPr>
                <a:grpSpLocks noChangeAspect="1"/>
              </p:cNvGrpSpPr>
              <p:nvPr>
                <p:custDataLst>
                  <p:tags r:id="rId6"/>
                </p:custDataLst>
              </p:nvPr>
            </p:nvGrpSpPr>
            <p:grpSpPr>
              <a:xfrm>
                <a:off x="2084071" y="2245249"/>
                <a:ext cx="579966" cy="579966"/>
                <a:chOff x="493300" y="1595533"/>
                <a:chExt cx="714050" cy="714050"/>
              </a:xfrm>
            </p:grpSpPr>
            <p:sp>
              <p:nvSpPr>
                <p:cNvPr id="133" name="Background">
                  <a:extLst>
                    <a:ext uri="{FF2B5EF4-FFF2-40B4-BE49-F238E27FC236}">
                      <a16:creationId xmlns:a16="http://schemas.microsoft.com/office/drawing/2014/main" id="{5833A623-7EE1-1069-CE3C-741A5D040D16}"/>
                    </a:ext>
                  </a:extLst>
                </p:cNvPr>
                <p:cNvSpPr/>
                <p:nvPr/>
              </p:nvSpPr>
              <p:spPr>
                <a:xfrm>
                  <a:off x="493300" y="1595533"/>
                  <a:ext cx="714050" cy="7140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134" name="Vector">
                  <a:extLst>
                    <a:ext uri="{FF2B5EF4-FFF2-40B4-BE49-F238E27FC236}">
                      <a16:creationId xmlns:a16="http://schemas.microsoft.com/office/drawing/2014/main" id="{B55AC1B4-01A1-6185-2E20-8F3236229998}"/>
                    </a:ext>
                  </a:extLst>
                </p:cNvPr>
                <p:cNvSpPr>
                  <a:spLocks noChangeAspect="1"/>
                </p:cNvSpPr>
                <p:nvPr/>
              </p:nvSpPr>
              <p:spPr bwMode="gray">
                <a:xfrm>
                  <a:off x="562325" y="1674504"/>
                  <a:ext cx="576001" cy="556109"/>
                </a:xfrm>
                <a:custGeom>
                  <a:avLst/>
                  <a:gdLst>
                    <a:gd name="connsiteX0" fmla="*/ 65545 w 633611"/>
                    <a:gd name="connsiteY0" fmla="*/ 535285 h 611729"/>
                    <a:gd name="connsiteX1" fmla="*/ 65545 w 633611"/>
                    <a:gd name="connsiteY1" fmla="*/ 557134 h 611729"/>
                    <a:gd name="connsiteX2" fmla="*/ 316485 w 633611"/>
                    <a:gd name="connsiteY2" fmla="*/ 557134 h 611729"/>
                    <a:gd name="connsiteX3" fmla="*/ 298045 w 633611"/>
                    <a:gd name="connsiteY3" fmla="*/ 535285 h 611729"/>
                    <a:gd name="connsiteX4" fmla="*/ 207560 w 633611"/>
                    <a:gd name="connsiteY4" fmla="*/ 382346 h 611729"/>
                    <a:gd name="connsiteX5" fmla="*/ 196635 w 633611"/>
                    <a:gd name="connsiteY5" fmla="*/ 393271 h 611729"/>
                    <a:gd name="connsiteX6" fmla="*/ 207560 w 633611"/>
                    <a:gd name="connsiteY6" fmla="*/ 404195 h 611729"/>
                    <a:gd name="connsiteX7" fmla="*/ 218484 w 633611"/>
                    <a:gd name="connsiteY7" fmla="*/ 393271 h 611729"/>
                    <a:gd name="connsiteX8" fmla="*/ 207560 w 633611"/>
                    <a:gd name="connsiteY8" fmla="*/ 382346 h 611729"/>
                    <a:gd name="connsiteX9" fmla="*/ 98318 w 633611"/>
                    <a:gd name="connsiteY9" fmla="*/ 382346 h 611729"/>
                    <a:gd name="connsiteX10" fmla="*/ 87393 w 633611"/>
                    <a:gd name="connsiteY10" fmla="*/ 393271 h 611729"/>
                    <a:gd name="connsiteX11" fmla="*/ 98318 w 633611"/>
                    <a:gd name="connsiteY11" fmla="*/ 404195 h 611729"/>
                    <a:gd name="connsiteX12" fmla="*/ 109242 w 633611"/>
                    <a:gd name="connsiteY12" fmla="*/ 393271 h 611729"/>
                    <a:gd name="connsiteX13" fmla="*/ 98318 w 633611"/>
                    <a:gd name="connsiteY13" fmla="*/ 382346 h 611729"/>
                    <a:gd name="connsiteX14" fmla="*/ 506446 w 633611"/>
                    <a:gd name="connsiteY14" fmla="*/ 373946 h 611729"/>
                    <a:gd name="connsiteX15" fmla="*/ 521838 w 633611"/>
                    <a:gd name="connsiteY15" fmla="*/ 375355 h 611729"/>
                    <a:gd name="connsiteX16" fmla="*/ 520429 w 633611"/>
                    <a:gd name="connsiteY16" fmla="*/ 390748 h 611729"/>
                    <a:gd name="connsiteX17" fmla="*/ 454883 w 633611"/>
                    <a:gd name="connsiteY17" fmla="*/ 445369 h 611729"/>
                    <a:gd name="connsiteX18" fmla="*/ 447892 w 633611"/>
                    <a:gd name="connsiteY18" fmla="*/ 447892 h 611729"/>
                    <a:gd name="connsiteX19" fmla="*/ 446319 w 633611"/>
                    <a:gd name="connsiteY19" fmla="*/ 447772 h 611729"/>
                    <a:gd name="connsiteX20" fmla="*/ 438803 w 633611"/>
                    <a:gd name="connsiteY20" fmla="*/ 443031 h 611729"/>
                    <a:gd name="connsiteX21" fmla="*/ 416955 w 633611"/>
                    <a:gd name="connsiteY21" fmla="*/ 410258 h 611729"/>
                    <a:gd name="connsiteX22" fmla="*/ 419981 w 633611"/>
                    <a:gd name="connsiteY22" fmla="*/ 395106 h 611729"/>
                    <a:gd name="connsiteX23" fmla="*/ 435133 w 633611"/>
                    <a:gd name="connsiteY23" fmla="*/ 398132 h 611729"/>
                    <a:gd name="connsiteX24" fmla="*/ 450241 w 633611"/>
                    <a:gd name="connsiteY24" fmla="*/ 420800 h 611729"/>
                    <a:gd name="connsiteX25" fmla="*/ 207560 w 633611"/>
                    <a:gd name="connsiteY25" fmla="*/ 360498 h 611729"/>
                    <a:gd name="connsiteX26" fmla="*/ 240332 w 633611"/>
                    <a:gd name="connsiteY26" fmla="*/ 393271 h 611729"/>
                    <a:gd name="connsiteX27" fmla="*/ 207560 w 633611"/>
                    <a:gd name="connsiteY27" fmla="*/ 426043 h 611729"/>
                    <a:gd name="connsiteX28" fmla="*/ 174787 w 633611"/>
                    <a:gd name="connsiteY28" fmla="*/ 393271 h 611729"/>
                    <a:gd name="connsiteX29" fmla="*/ 207560 w 633611"/>
                    <a:gd name="connsiteY29" fmla="*/ 360498 h 611729"/>
                    <a:gd name="connsiteX30" fmla="*/ 98318 w 633611"/>
                    <a:gd name="connsiteY30" fmla="*/ 360498 h 611729"/>
                    <a:gd name="connsiteX31" fmla="*/ 131090 w 633611"/>
                    <a:gd name="connsiteY31" fmla="*/ 393271 h 611729"/>
                    <a:gd name="connsiteX32" fmla="*/ 98318 w 633611"/>
                    <a:gd name="connsiteY32" fmla="*/ 426043 h 611729"/>
                    <a:gd name="connsiteX33" fmla="*/ 65545 w 633611"/>
                    <a:gd name="connsiteY33" fmla="*/ 393271 h 611729"/>
                    <a:gd name="connsiteX34" fmla="*/ 98318 w 633611"/>
                    <a:gd name="connsiteY34" fmla="*/ 360498 h 611729"/>
                    <a:gd name="connsiteX35" fmla="*/ 436967 w 633611"/>
                    <a:gd name="connsiteY35" fmla="*/ 306434 h 611729"/>
                    <a:gd name="connsiteX36" fmla="*/ 327725 w 633611"/>
                    <a:gd name="connsiteY36" fmla="*/ 426043 h 611729"/>
                    <a:gd name="connsiteX37" fmla="*/ 349574 w 633611"/>
                    <a:gd name="connsiteY37" fmla="*/ 426043 h 611729"/>
                    <a:gd name="connsiteX38" fmla="*/ 360498 w 633611"/>
                    <a:gd name="connsiteY38" fmla="*/ 436968 h 611729"/>
                    <a:gd name="connsiteX39" fmla="*/ 349574 w 633611"/>
                    <a:gd name="connsiteY39" fmla="*/ 447892 h 611729"/>
                    <a:gd name="connsiteX40" fmla="*/ 329812 w 633611"/>
                    <a:gd name="connsiteY40" fmla="*/ 447892 h 611729"/>
                    <a:gd name="connsiteX41" fmla="*/ 436967 w 633611"/>
                    <a:gd name="connsiteY41" fmla="*/ 545652 h 611729"/>
                    <a:gd name="connsiteX42" fmla="*/ 436967 w 633611"/>
                    <a:gd name="connsiteY42" fmla="*/ 524361 h 611729"/>
                    <a:gd name="connsiteX43" fmla="*/ 447891 w 633611"/>
                    <a:gd name="connsiteY43" fmla="*/ 513437 h 611729"/>
                    <a:gd name="connsiteX44" fmla="*/ 458816 w 633611"/>
                    <a:gd name="connsiteY44" fmla="*/ 524361 h 611729"/>
                    <a:gd name="connsiteX45" fmla="*/ 458816 w 633611"/>
                    <a:gd name="connsiteY45" fmla="*/ 545652 h 611729"/>
                    <a:gd name="connsiteX46" fmla="*/ 565971 w 633611"/>
                    <a:gd name="connsiteY46" fmla="*/ 447892 h 611729"/>
                    <a:gd name="connsiteX47" fmla="*/ 546209 w 633611"/>
                    <a:gd name="connsiteY47" fmla="*/ 447892 h 611729"/>
                    <a:gd name="connsiteX48" fmla="*/ 535285 w 633611"/>
                    <a:gd name="connsiteY48" fmla="*/ 436968 h 611729"/>
                    <a:gd name="connsiteX49" fmla="*/ 546209 w 633611"/>
                    <a:gd name="connsiteY49" fmla="*/ 426043 h 611729"/>
                    <a:gd name="connsiteX50" fmla="*/ 568058 w 633611"/>
                    <a:gd name="connsiteY50" fmla="*/ 426043 h 611729"/>
                    <a:gd name="connsiteX51" fmla="*/ 458816 w 633611"/>
                    <a:gd name="connsiteY51" fmla="*/ 306434 h 611729"/>
                    <a:gd name="connsiteX52" fmla="*/ 458816 w 633611"/>
                    <a:gd name="connsiteY52" fmla="*/ 327726 h 611729"/>
                    <a:gd name="connsiteX53" fmla="*/ 447891 w 633611"/>
                    <a:gd name="connsiteY53" fmla="*/ 338650 h 611729"/>
                    <a:gd name="connsiteX54" fmla="*/ 436967 w 633611"/>
                    <a:gd name="connsiteY54" fmla="*/ 327726 h 611729"/>
                    <a:gd name="connsiteX55" fmla="*/ 207560 w 633611"/>
                    <a:gd name="connsiteY55" fmla="*/ 294953 h 611729"/>
                    <a:gd name="connsiteX56" fmla="*/ 196635 w 633611"/>
                    <a:gd name="connsiteY56" fmla="*/ 305878 h 611729"/>
                    <a:gd name="connsiteX57" fmla="*/ 207560 w 633611"/>
                    <a:gd name="connsiteY57" fmla="*/ 316802 h 611729"/>
                    <a:gd name="connsiteX58" fmla="*/ 218484 w 633611"/>
                    <a:gd name="connsiteY58" fmla="*/ 305878 h 611729"/>
                    <a:gd name="connsiteX59" fmla="*/ 207560 w 633611"/>
                    <a:gd name="connsiteY59" fmla="*/ 294953 h 611729"/>
                    <a:gd name="connsiteX60" fmla="*/ 98318 w 633611"/>
                    <a:gd name="connsiteY60" fmla="*/ 294953 h 611729"/>
                    <a:gd name="connsiteX61" fmla="*/ 87393 w 633611"/>
                    <a:gd name="connsiteY61" fmla="*/ 305878 h 611729"/>
                    <a:gd name="connsiteX62" fmla="*/ 98318 w 633611"/>
                    <a:gd name="connsiteY62" fmla="*/ 316802 h 611729"/>
                    <a:gd name="connsiteX63" fmla="*/ 109242 w 633611"/>
                    <a:gd name="connsiteY63" fmla="*/ 305878 h 611729"/>
                    <a:gd name="connsiteX64" fmla="*/ 98318 w 633611"/>
                    <a:gd name="connsiteY64" fmla="*/ 294953 h 611729"/>
                    <a:gd name="connsiteX65" fmla="*/ 447891 w 633611"/>
                    <a:gd name="connsiteY65" fmla="*/ 284029 h 611729"/>
                    <a:gd name="connsiteX66" fmla="*/ 589906 w 633611"/>
                    <a:gd name="connsiteY66" fmla="*/ 426043 h 611729"/>
                    <a:gd name="connsiteX67" fmla="*/ 447891 w 633611"/>
                    <a:gd name="connsiteY67" fmla="*/ 568058 h 611729"/>
                    <a:gd name="connsiteX68" fmla="*/ 305877 w 633611"/>
                    <a:gd name="connsiteY68" fmla="*/ 426043 h 611729"/>
                    <a:gd name="connsiteX69" fmla="*/ 447891 w 633611"/>
                    <a:gd name="connsiteY69" fmla="*/ 284029 h 611729"/>
                    <a:gd name="connsiteX70" fmla="*/ 207560 w 633611"/>
                    <a:gd name="connsiteY70" fmla="*/ 273105 h 611729"/>
                    <a:gd name="connsiteX71" fmla="*/ 240332 w 633611"/>
                    <a:gd name="connsiteY71" fmla="*/ 305878 h 611729"/>
                    <a:gd name="connsiteX72" fmla="*/ 207560 w 633611"/>
                    <a:gd name="connsiteY72" fmla="*/ 338650 h 611729"/>
                    <a:gd name="connsiteX73" fmla="*/ 174787 w 633611"/>
                    <a:gd name="connsiteY73" fmla="*/ 305878 h 611729"/>
                    <a:gd name="connsiteX74" fmla="*/ 207560 w 633611"/>
                    <a:gd name="connsiteY74" fmla="*/ 273105 h 611729"/>
                    <a:gd name="connsiteX75" fmla="*/ 98318 w 633611"/>
                    <a:gd name="connsiteY75" fmla="*/ 273105 h 611729"/>
                    <a:gd name="connsiteX76" fmla="*/ 131090 w 633611"/>
                    <a:gd name="connsiteY76" fmla="*/ 305878 h 611729"/>
                    <a:gd name="connsiteX77" fmla="*/ 98318 w 633611"/>
                    <a:gd name="connsiteY77" fmla="*/ 338650 h 611729"/>
                    <a:gd name="connsiteX78" fmla="*/ 65545 w 633611"/>
                    <a:gd name="connsiteY78" fmla="*/ 305878 h 611729"/>
                    <a:gd name="connsiteX79" fmla="*/ 98318 w 633611"/>
                    <a:gd name="connsiteY79" fmla="*/ 273105 h 611729"/>
                    <a:gd name="connsiteX80" fmla="*/ 447892 w 633611"/>
                    <a:gd name="connsiteY80" fmla="*/ 262181 h 611729"/>
                    <a:gd name="connsiteX81" fmla="*/ 284029 w 633611"/>
                    <a:gd name="connsiteY81" fmla="*/ 426043 h 611729"/>
                    <a:gd name="connsiteX82" fmla="*/ 447892 w 633611"/>
                    <a:gd name="connsiteY82" fmla="*/ 589906 h 611729"/>
                    <a:gd name="connsiteX83" fmla="*/ 611755 w 633611"/>
                    <a:gd name="connsiteY83" fmla="*/ 426043 h 611729"/>
                    <a:gd name="connsiteX84" fmla="*/ 447892 w 633611"/>
                    <a:gd name="connsiteY84" fmla="*/ 262181 h 611729"/>
                    <a:gd name="connsiteX85" fmla="*/ 316802 w 633611"/>
                    <a:gd name="connsiteY85" fmla="*/ 207559 h 611729"/>
                    <a:gd name="connsiteX86" fmla="*/ 305877 w 633611"/>
                    <a:gd name="connsiteY86" fmla="*/ 218484 h 611729"/>
                    <a:gd name="connsiteX87" fmla="*/ 316802 w 633611"/>
                    <a:gd name="connsiteY87" fmla="*/ 229408 h 611729"/>
                    <a:gd name="connsiteX88" fmla="*/ 327726 w 633611"/>
                    <a:gd name="connsiteY88" fmla="*/ 218484 h 611729"/>
                    <a:gd name="connsiteX89" fmla="*/ 316802 w 633611"/>
                    <a:gd name="connsiteY89" fmla="*/ 207559 h 611729"/>
                    <a:gd name="connsiteX90" fmla="*/ 207560 w 633611"/>
                    <a:gd name="connsiteY90" fmla="*/ 207559 h 611729"/>
                    <a:gd name="connsiteX91" fmla="*/ 196635 w 633611"/>
                    <a:gd name="connsiteY91" fmla="*/ 218484 h 611729"/>
                    <a:gd name="connsiteX92" fmla="*/ 207560 w 633611"/>
                    <a:gd name="connsiteY92" fmla="*/ 229408 h 611729"/>
                    <a:gd name="connsiteX93" fmla="*/ 218484 w 633611"/>
                    <a:gd name="connsiteY93" fmla="*/ 218484 h 611729"/>
                    <a:gd name="connsiteX94" fmla="*/ 207560 w 633611"/>
                    <a:gd name="connsiteY94" fmla="*/ 207559 h 611729"/>
                    <a:gd name="connsiteX95" fmla="*/ 98318 w 633611"/>
                    <a:gd name="connsiteY95" fmla="*/ 207559 h 611729"/>
                    <a:gd name="connsiteX96" fmla="*/ 87393 w 633611"/>
                    <a:gd name="connsiteY96" fmla="*/ 218484 h 611729"/>
                    <a:gd name="connsiteX97" fmla="*/ 98318 w 633611"/>
                    <a:gd name="connsiteY97" fmla="*/ 229408 h 611729"/>
                    <a:gd name="connsiteX98" fmla="*/ 109242 w 633611"/>
                    <a:gd name="connsiteY98" fmla="*/ 218484 h 611729"/>
                    <a:gd name="connsiteX99" fmla="*/ 98318 w 633611"/>
                    <a:gd name="connsiteY99" fmla="*/ 207559 h 611729"/>
                    <a:gd name="connsiteX100" fmla="*/ 316802 w 633611"/>
                    <a:gd name="connsiteY100" fmla="*/ 185711 h 611729"/>
                    <a:gd name="connsiteX101" fmla="*/ 349574 w 633611"/>
                    <a:gd name="connsiteY101" fmla="*/ 218484 h 611729"/>
                    <a:gd name="connsiteX102" fmla="*/ 316802 w 633611"/>
                    <a:gd name="connsiteY102" fmla="*/ 251256 h 611729"/>
                    <a:gd name="connsiteX103" fmla="*/ 284029 w 633611"/>
                    <a:gd name="connsiteY103" fmla="*/ 218484 h 611729"/>
                    <a:gd name="connsiteX104" fmla="*/ 316802 w 633611"/>
                    <a:gd name="connsiteY104" fmla="*/ 185711 h 611729"/>
                    <a:gd name="connsiteX105" fmla="*/ 207560 w 633611"/>
                    <a:gd name="connsiteY105" fmla="*/ 185711 h 611729"/>
                    <a:gd name="connsiteX106" fmla="*/ 240332 w 633611"/>
                    <a:gd name="connsiteY106" fmla="*/ 218484 h 611729"/>
                    <a:gd name="connsiteX107" fmla="*/ 207560 w 633611"/>
                    <a:gd name="connsiteY107" fmla="*/ 251256 h 611729"/>
                    <a:gd name="connsiteX108" fmla="*/ 174787 w 633611"/>
                    <a:gd name="connsiteY108" fmla="*/ 218484 h 611729"/>
                    <a:gd name="connsiteX109" fmla="*/ 207560 w 633611"/>
                    <a:gd name="connsiteY109" fmla="*/ 185711 h 611729"/>
                    <a:gd name="connsiteX110" fmla="*/ 98318 w 633611"/>
                    <a:gd name="connsiteY110" fmla="*/ 185711 h 611729"/>
                    <a:gd name="connsiteX111" fmla="*/ 131090 w 633611"/>
                    <a:gd name="connsiteY111" fmla="*/ 218484 h 611729"/>
                    <a:gd name="connsiteX112" fmla="*/ 98318 w 633611"/>
                    <a:gd name="connsiteY112" fmla="*/ 251256 h 611729"/>
                    <a:gd name="connsiteX113" fmla="*/ 65545 w 633611"/>
                    <a:gd name="connsiteY113" fmla="*/ 218484 h 611729"/>
                    <a:gd name="connsiteX114" fmla="*/ 98318 w 633611"/>
                    <a:gd name="connsiteY114" fmla="*/ 185711 h 611729"/>
                    <a:gd name="connsiteX115" fmla="*/ 21848 w 633611"/>
                    <a:gd name="connsiteY115" fmla="*/ 142014 h 611729"/>
                    <a:gd name="connsiteX116" fmla="*/ 21848 w 633611"/>
                    <a:gd name="connsiteY116" fmla="*/ 513437 h 611729"/>
                    <a:gd name="connsiteX117" fmla="*/ 284116 w 633611"/>
                    <a:gd name="connsiteY117" fmla="*/ 513437 h 611729"/>
                    <a:gd name="connsiteX118" fmla="*/ 262181 w 633611"/>
                    <a:gd name="connsiteY118" fmla="*/ 425781 h 611729"/>
                    <a:gd name="connsiteX119" fmla="*/ 447892 w 633611"/>
                    <a:gd name="connsiteY119" fmla="*/ 240332 h 611729"/>
                    <a:gd name="connsiteX120" fmla="*/ 502513 w 633611"/>
                    <a:gd name="connsiteY120" fmla="*/ 248558 h 611729"/>
                    <a:gd name="connsiteX121" fmla="*/ 502513 w 633611"/>
                    <a:gd name="connsiteY121" fmla="*/ 142014 h 611729"/>
                    <a:gd name="connsiteX122" fmla="*/ 32773 w 633611"/>
                    <a:gd name="connsiteY122" fmla="*/ 54621 h 611729"/>
                    <a:gd name="connsiteX123" fmla="*/ 21848 w 633611"/>
                    <a:gd name="connsiteY123" fmla="*/ 65545 h 611729"/>
                    <a:gd name="connsiteX124" fmla="*/ 21848 w 633611"/>
                    <a:gd name="connsiteY124" fmla="*/ 120166 h 611729"/>
                    <a:gd name="connsiteX125" fmla="*/ 502513 w 633611"/>
                    <a:gd name="connsiteY125" fmla="*/ 120166 h 611729"/>
                    <a:gd name="connsiteX126" fmla="*/ 502513 w 633611"/>
                    <a:gd name="connsiteY126" fmla="*/ 65545 h 611729"/>
                    <a:gd name="connsiteX127" fmla="*/ 491588 w 633611"/>
                    <a:gd name="connsiteY127" fmla="*/ 54621 h 611729"/>
                    <a:gd name="connsiteX128" fmla="*/ 458816 w 633611"/>
                    <a:gd name="connsiteY128" fmla="*/ 54621 h 611729"/>
                    <a:gd name="connsiteX129" fmla="*/ 458816 w 633611"/>
                    <a:gd name="connsiteY129" fmla="*/ 76469 h 611729"/>
                    <a:gd name="connsiteX130" fmla="*/ 447892 w 633611"/>
                    <a:gd name="connsiteY130" fmla="*/ 87394 h 611729"/>
                    <a:gd name="connsiteX131" fmla="*/ 404195 w 633611"/>
                    <a:gd name="connsiteY131" fmla="*/ 87394 h 611729"/>
                    <a:gd name="connsiteX132" fmla="*/ 393271 w 633611"/>
                    <a:gd name="connsiteY132" fmla="*/ 76469 h 611729"/>
                    <a:gd name="connsiteX133" fmla="*/ 393271 w 633611"/>
                    <a:gd name="connsiteY133" fmla="*/ 54621 h 611729"/>
                    <a:gd name="connsiteX134" fmla="*/ 349574 w 633611"/>
                    <a:gd name="connsiteY134" fmla="*/ 54621 h 611729"/>
                    <a:gd name="connsiteX135" fmla="*/ 349574 w 633611"/>
                    <a:gd name="connsiteY135" fmla="*/ 76469 h 611729"/>
                    <a:gd name="connsiteX136" fmla="*/ 338650 w 633611"/>
                    <a:gd name="connsiteY136" fmla="*/ 87394 h 611729"/>
                    <a:gd name="connsiteX137" fmla="*/ 294953 w 633611"/>
                    <a:gd name="connsiteY137" fmla="*/ 87394 h 611729"/>
                    <a:gd name="connsiteX138" fmla="*/ 284029 w 633611"/>
                    <a:gd name="connsiteY138" fmla="*/ 76469 h 611729"/>
                    <a:gd name="connsiteX139" fmla="*/ 284029 w 633611"/>
                    <a:gd name="connsiteY139" fmla="*/ 54621 h 611729"/>
                    <a:gd name="connsiteX140" fmla="*/ 240332 w 633611"/>
                    <a:gd name="connsiteY140" fmla="*/ 54621 h 611729"/>
                    <a:gd name="connsiteX141" fmla="*/ 240332 w 633611"/>
                    <a:gd name="connsiteY141" fmla="*/ 76469 h 611729"/>
                    <a:gd name="connsiteX142" fmla="*/ 229408 w 633611"/>
                    <a:gd name="connsiteY142" fmla="*/ 87394 h 611729"/>
                    <a:gd name="connsiteX143" fmla="*/ 185711 w 633611"/>
                    <a:gd name="connsiteY143" fmla="*/ 87394 h 611729"/>
                    <a:gd name="connsiteX144" fmla="*/ 174787 w 633611"/>
                    <a:gd name="connsiteY144" fmla="*/ 76469 h 611729"/>
                    <a:gd name="connsiteX145" fmla="*/ 174787 w 633611"/>
                    <a:gd name="connsiteY145" fmla="*/ 54621 h 611729"/>
                    <a:gd name="connsiteX146" fmla="*/ 131090 w 633611"/>
                    <a:gd name="connsiteY146" fmla="*/ 54621 h 611729"/>
                    <a:gd name="connsiteX147" fmla="*/ 131090 w 633611"/>
                    <a:gd name="connsiteY147" fmla="*/ 76469 h 611729"/>
                    <a:gd name="connsiteX148" fmla="*/ 120166 w 633611"/>
                    <a:gd name="connsiteY148" fmla="*/ 87394 h 611729"/>
                    <a:gd name="connsiteX149" fmla="*/ 76469 w 633611"/>
                    <a:gd name="connsiteY149" fmla="*/ 87394 h 611729"/>
                    <a:gd name="connsiteX150" fmla="*/ 65545 w 633611"/>
                    <a:gd name="connsiteY150" fmla="*/ 76469 h 611729"/>
                    <a:gd name="connsiteX151" fmla="*/ 65545 w 633611"/>
                    <a:gd name="connsiteY151" fmla="*/ 54621 h 611729"/>
                    <a:gd name="connsiteX152" fmla="*/ 426043 w 633611"/>
                    <a:gd name="connsiteY152" fmla="*/ 21848 h 611729"/>
                    <a:gd name="connsiteX153" fmla="*/ 415119 w 633611"/>
                    <a:gd name="connsiteY153" fmla="*/ 32773 h 611729"/>
                    <a:gd name="connsiteX154" fmla="*/ 415119 w 633611"/>
                    <a:gd name="connsiteY154" fmla="*/ 65545 h 611729"/>
                    <a:gd name="connsiteX155" fmla="*/ 436968 w 633611"/>
                    <a:gd name="connsiteY155" fmla="*/ 65545 h 611729"/>
                    <a:gd name="connsiteX156" fmla="*/ 436968 w 633611"/>
                    <a:gd name="connsiteY156" fmla="*/ 32773 h 611729"/>
                    <a:gd name="connsiteX157" fmla="*/ 426043 w 633611"/>
                    <a:gd name="connsiteY157" fmla="*/ 21848 h 611729"/>
                    <a:gd name="connsiteX158" fmla="*/ 316801 w 633611"/>
                    <a:gd name="connsiteY158" fmla="*/ 21848 h 611729"/>
                    <a:gd name="connsiteX159" fmla="*/ 305877 w 633611"/>
                    <a:gd name="connsiteY159" fmla="*/ 32773 h 611729"/>
                    <a:gd name="connsiteX160" fmla="*/ 305877 w 633611"/>
                    <a:gd name="connsiteY160" fmla="*/ 65545 h 611729"/>
                    <a:gd name="connsiteX161" fmla="*/ 327726 w 633611"/>
                    <a:gd name="connsiteY161" fmla="*/ 65545 h 611729"/>
                    <a:gd name="connsiteX162" fmla="*/ 327726 w 633611"/>
                    <a:gd name="connsiteY162" fmla="*/ 32773 h 611729"/>
                    <a:gd name="connsiteX163" fmla="*/ 316801 w 633611"/>
                    <a:gd name="connsiteY163" fmla="*/ 21848 h 611729"/>
                    <a:gd name="connsiteX164" fmla="*/ 207560 w 633611"/>
                    <a:gd name="connsiteY164" fmla="*/ 21848 h 611729"/>
                    <a:gd name="connsiteX165" fmla="*/ 196635 w 633611"/>
                    <a:gd name="connsiteY165" fmla="*/ 32773 h 611729"/>
                    <a:gd name="connsiteX166" fmla="*/ 196635 w 633611"/>
                    <a:gd name="connsiteY166" fmla="*/ 65545 h 611729"/>
                    <a:gd name="connsiteX167" fmla="*/ 218484 w 633611"/>
                    <a:gd name="connsiteY167" fmla="*/ 65545 h 611729"/>
                    <a:gd name="connsiteX168" fmla="*/ 218484 w 633611"/>
                    <a:gd name="connsiteY168" fmla="*/ 32773 h 611729"/>
                    <a:gd name="connsiteX169" fmla="*/ 207560 w 633611"/>
                    <a:gd name="connsiteY169" fmla="*/ 21848 h 611729"/>
                    <a:gd name="connsiteX170" fmla="*/ 98318 w 633611"/>
                    <a:gd name="connsiteY170" fmla="*/ 21848 h 611729"/>
                    <a:gd name="connsiteX171" fmla="*/ 87394 w 633611"/>
                    <a:gd name="connsiteY171" fmla="*/ 32773 h 611729"/>
                    <a:gd name="connsiteX172" fmla="*/ 87394 w 633611"/>
                    <a:gd name="connsiteY172" fmla="*/ 65545 h 611729"/>
                    <a:gd name="connsiteX173" fmla="*/ 109242 w 633611"/>
                    <a:gd name="connsiteY173" fmla="*/ 65545 h 611729"/>
                    <a:gd name="connsiteX174" fmla="*/ 109242 w 633611"/>
                    <a:gd name="connsiteY174" fmla="*/ 32773 h 611729"/>
                    <a:gd name="connsiteX175" fmla="*/ 98318 w 633611"/>
                    <a:gd name="connsiteY175" fmla="*/ 21848 h 611729"/>
                    <a:gd name="connsiteX176" fmla="*/ 98318 w 633611"/>
                    <a:gd name="connsiteY176" fmla="*/ 0 h 611729"/>
                    <a:gd name="connsiteX177" fmla="*/ 131090 w 633611"/>
                    <a:gd name="connsiteY177" fmla="*/ 32773 h 611729"/>
                    <a:gd name="connsiteX178" fmla="*/ 174787 w 633611"/>
                    <a:gd name="connsiteY178" fmla="*/ 32773 h 611729"/>
                    <a:gd name="connsiteX179" fmla="*/ 207560 w 633611"/>
                    <a:gd name="connsiteY179" fmla="*/ 0 h 611729"/>
                    <a:gd name="connsiteX180" fmla="*/ 240332 w 633611"/>
                    <a:gd name="connsiteY180" fmla="*/ 32773 h 611729"/>
                    <a:gd name="connsiteX181" fmla="*/ 284029 w 633611"/>
                    <a:gd name="connsiteY181" fmla="*/ 32773 h 611729"/>
                    <a:gd name="connsiteX182" fmla="*/ 316801 w 633611"/>
                    <a:gd name="connsiteY182" fmla="*/ 0 h 611729"/>
                    <a:gd name="connsiteX183" fmla="*/ 349574 w 633611"/>
                    <a:gd name="connsiteY183" fmla="*/ 32773 h 611729"/>
                    <a:gd name="connsiteX184" fmla="*/ 393271 w 633611"/>
                    <a:gd name="connsiteY184" fmla="*/ 32773 h 611729"/>
                    <a:gd name="connsiteX185" fmla="*/ 426043 w 633611"/>
                    <a:gd name="connsiteY185" fmla="*/ 0 h 611729"/>
                    <a:gd name="connsiteX186" fmla="*/ 458816 w 633611"/>
                    <a:gd name="connsiteY186" fmla="*/ 32773 h 611729"/>
                    <a:gd name="connsiteX187" fmla="*/ 491588 w 633611"/>
                    <a:gd name="connsiteY187" fmla="*/ 32773 h 611729"/>
                    <a:gd name="connsiteX188" fmla="*/ 524361 w 633611"/>
                    <a:gd name="connsiteY188" fmla="*/ 65545 h 611729"/>
                    <a:gd name="connsiteX189" fmla="*/ 524361 w 633611"/>
                    <a:gd name="connsiteY189" fmla="*/ 257002 h 611729"/>
                    <a:gd name="connsiteX190" fmla="*/ 553381 w 633611"/>
                    <a:gd name="connsiteY190" fmla="*/ 273382 h 611729"/>
                    <a:gd name="connsiteX191" fmla="*/ 600787 w 633611"/>
                    <a:gd name="connsiteY191" fmla="*/ 531499 h 611729"/>
                    <a:gd name="connsiteX192" fmla="*/ 342670 w 633611"/>
                    <a:gd name="connsiteY192" fmla="*/ 578905 h 611729"/>
                    <a:gd name="connsiteX193" fmla="*/ 342288 w 633611"/>
                    <a:gd name="connsiteY193" fmla="*/ 578982 h 611729"/>
                    <a:gd name="connsiteX194" fmla="*/ 54621 w 633611"/>
                    <a:gd name="connsiteY194" fmla="*/ 578982 h 611729"/>
                    <a:gd name="connsiteX195" fmla="*/ 43697 w 633611"/>
                    <a:gd name="connsiteY195" fmla="*/ 568058 h 611729"/>
                    <a:gd name="connsiteX196" fmla="*/ 43697 w 633611"/>
                    <a:gd name="connsiteY196" fmla="*/ 535285 h 611729"/>
                    <a:gd name="connsiteX197" fmla="*/ 10924 w 633611"/>
                    <a:gd name="connsiteY197" fmla="*/ 535285 h 611729"/>
                    <a:gd name="connsiteX198" fmla="*/ 0 w 633611"/>
                    <a:gd name="connsiteY198" fmla="*/ 524361 h 611729"/>
                    <a:gd name="connsiteX199" fmla="*/ 0 w 633611"/>
                    <a:gd name="connsiteY199" fmla="*/ 65545 h 611729"/>
                    <a:gd name="connsiteX200" fmla="*/ 32773 w 633611"/>
                    <a:gd name="connsiteY200" fmla="*/ 32773 h 611729"/>
                    <a:gd name="connsiteX201" fmla="*/ 65545 w 633611"/>
                    <a:gd name="connsiteY201" fmla="*/ 32773 h 611729"/>
                    <a:gd name="connsiteX202" fmla="*/ 98318 w 633611"/>
                    <a:gd name="connsiteY202" fmla="*/ 0 h 61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633611" h="611729">
                      <a:moveTo>
                        <a:pt x="65545" y="535285"/>
                      </a:moveTo>
                      <a:lnTo>
                        <a:pt x="65545" y="557134"/>
                      </a:lnTo>
                      <a:lnTo>
                        <a:pt x="316485" y="557134"/>
                      </a:lnTo>
                      <a:cubicBezTo>
                        <a:pt x="309788" y="550333"/>
                        <a:pt x="303624" y="543029"/>
                        <a:pt x="298045" y="535285"/>
                      </a:cubicBezTo>
                      <a:close/>
                      <a:moveTo>
                        <a:pt x="207560" y="382346"/>
                      </a:moveTo>
                      <a:cubicBezTo>
                        <a:pt x="201526" y="382346"/>
                        <a:pt x="196635" y="387237"/>
                        <a:pt x="196635" y="393271"/>
                      </a:cubicBezTo>
                      <a:cubicBezTo>
                        <a:pt x="196635" y="399304"/>
                        <a:pt x="201526" y="404195"/>
                        <a:pt x="207560" y="404195"/>
                      </a:cubicBezTo>
                      <a:cubicBezTo>
                        <a:pt x="213593" y="404195"/>
                        <a:pt x="218484" y="399304"/>
                        <a:pt x="218484" y="393271"/>
                      </a:cubicBezTo>
                      <a:cubicBezTo>
                        <a:pt x="218484" y="387237"/>
                        <a:pt x="213593" y="382346"/>
                        <a:pt x="207560" y="382346"/>
                      </a:cubicBezTo>
                      <a:close/>
                      <a:moveTo>
                        <a:pt x="98318" y="382346"/>
                      </a:moveTo>
                      <a:cubicBezTo>
                        <a:pt x="92284" y="382346"/>
                        <a:pt x="87393" y="387237"/>
                        <a:pt x="87393" y="393271"/>
                      </a:cubicBezTo>
                      <a:cubicBezTo>
                        <a:pt x="87393" y="399304"/>
                        <a:pt x="92284" y="404195"/>
                        <a:pt x="98318" y="404195"/>
                      </a:cubicBezTo>
                      <a:cubicBezTo>
                        <a:pt x="104351" y="404195"/>
                        <a:pt x="109242" y="399304"/>
                        <a:pt x="109242" y="393271"/>
                      </a:cubicBezTo>
                      <a:cubicBezTo>
                        <a:pt x="109242" y="387237"/>
                        <a:pt x="104351" y="382346"/>
                        <a:pt x="98318" y="382346"/>
                      </a:cubicBezTo>
                      <a:close/>
                      <a:moveTo>
                        <a:pt x="506446" y="373946"/>
                      </a:moveTo>
                      <a:cubicBezTo>
                        <a:pt x="511085" y="370084"/>
                        <a:pt x="517976" y="370716"/>
                        <a:pt x="521838" y="375355"/>
                      </a:cubicBezTo>
                      <a:cubicBezTo>
                        <a:pt x="525700" y="379995"/>
                        <a:pt x="525068" y="386886"/>
                        <a:pt x="520429" y="390748"/>
                      </a:cubicBezTo>
                      <a:lnTo>
                        <a:pt x="454883" y="445369"/>
                      </a:lnTo>
                      <a:cubicBezTo>
                        <a:pt x="452919" y="447001"/>
                        <a:pt x="450446" y="447894"/>
                        <a:pt x="447892" y="447892"/>
                      </a:cubicBezTo>
                      <a:cubicBezTo>
                        <a:pt x="447365" y="447895"/>
                        <a:pt x="446839" y="447855"/>
                        <a:pt x="446319" y="447772"/>
                      </a:cubicBezTo>
                      <a:cubicBezTo>
                        <a:pt x="443255" y="447328"/>
                        <a:pt x="440524" y="445604"/>
                        <a:pt x="438803" y="443031"/>
                      </a:cubicBezTo>
                      <a:lnTo>
                        <a:pt x="416955" y="410258"/>
                      </a:lnTo>
                      <a:cubicBezTo>
                        <a:pt x="413606" y="405239"/>
                        <a:pt x="414961" y="398455"/>
                        <a:pt x="419981" y="395106"/>
                      </a:cubicBezTo>
                      <a:cubicBezTo>
                        <a:pt x="425000" y="391758"/>
                        <a:pt x="431784" y="393113"/>
                        <a:pt x="435133" y="398132"/>
                      </a:cubicBezTo>
                      <a:lnTo>
                        <a:pt x="450241" y="420800"/>
                      </a:lnTo>
                      <a:close/>
                      <a:moveTo>
                        <a:pt x="207560" y="360498"/>
                      </a:moveTo>
                      <a:cubicBezTo>
                        <a:pt x="225660" y="360498"/>
                        <a:pt x="240332" y="375170"/>
                        <a:pt x="240332" y="393271"/>
                      </a:cubicBezTo>
                      <a:cubicBezTo>
                        <a:pt x="240332" y="411371"/>
                        <a:pt x="225660" y="426043"/>
                        <a:pt x="207560" y="426043"/>
                      </a:cubicBezTo>
                      <a:cubicBezTo>
                        <a:pt x="189459" y="426043"/>
                        <a:pt x="174787" y="411371"/>
                        <a:pt x="174787" y="393271"/>
                      </a:cubicBezTo>
                      <a:cubicBezTo>
                        <a:pt x="174787" y="375170"/>
                        <a:pt x="189459" y="360498"/>
                        <a:pt x="207560" y="360498"/>
                      </a:cubicBezTo>
                      <a:close/>
                      <a:moveTo>
                        <a:pt x="98318" y="360498"/>
                      </a:moveTo>
                      <a:cubicBezTo>
                        <a:pt x="116418" y="360498"/>
                        <a:pt x="131090" y="375170"/>
                        <a:pt x="131090" y="393271"/>
                      </a:cubicBezTo>
                      <a:cubicBezTo>
                        <a:pt x="131090" y="411371"/>
                        <a:pt x="116418" y="426043"/>
                        <a:pt x="98318" y="426043"/>
                      </a:cubicBezTo>
                      <a:cubicBezTo>
                        <a:pt x="80217" y="426043"/>
                        <a:pt x="65545" y="411371"/>
                        <a:pt x="65545" y="393271"/>
                      </a:cubicBezTo>
                      <a:cubicBezTo>
                        <a:pt x="65545" y="375170"/>
                        <a:pt x="80217" y="360498"/>
                        <a:pt x="98318" y="360498"/>
                      </a:cubicBezTo>
                      <a:close/>
                      <a:moveTo>
                        <a:pt x="436967" y="306434"/>
                      </a:moveTo>
                      <a:cubicBezTo>
                        <a:pt x="375139" y="312130"/>
                        <a:pt x="327807" y="363954"/>
                        <a:pt x="327725" y="426043"/>
                      </a:cubicBezTo>
                      <a:lnTo>
                        <a:pt x="349574" y="426043"/>
                      </a:lnTo>
                      <a:cubicBezTo>
                        <a:pt x="355607" y="426043"/>
                        <a:pt x="360498" y="430934"/>
                        <a:pt x="360498" y="436968"/>
                      </a:cubicBezTo>
                      <a:cubicBezTo>
                        <a:pt x="360498" y="443001"/>
                        <a:pt x="355607" y="447892"/>
                        <a:pt x="349574" y="447892"/>
                      </a:cubicBezTo>
                      <a:lnTo>
                        <a:pt x="329812" y="447892"/>
                      </a:lnTo>
                      <a:cubicBezTo>
                        <a:pt x="339662" y="500768"/>
                        <a:pt x="383411" y="540682"/>
                        <a:pt x="436967" y="545652"/>
                      </a:cubicBezTo>
                      <a:lnTo>
                        <a:pt x="436967" y="524361"/>
                      </a:lnTo>
                      <a:cubicBezTo>
                        <a:pt x="436967" y="518328"/>
                        <a:pt x="441858" y="513437"/>
                        <a:pt x="447891" y="513437"/>
                      </a:cubicBezTo>
                      <a:cubicBezTo>
                        <a:pt x="453925" y="513437"/>
                        <a:pt x="458816" y="518328"/>
                        <a:pt x="458816" y="524361"/>
                      </a:cubicBezTo>
                      <a:lnTo>
                        <a:pt x="458816" y="545652"/>
                      </a:lnTo>
                      <a:cubicBezTo>
                        <a:pt x="512371" y="540682"/>
                        <a:pt x="556121" y="500768"/>
                        <a:pt x="565971" y="447892"/>
                      </a:cubicBezTo>
                      <a:lnTo>
                        <a:pt x="546209" y="447892"/>
                      </a:lnTo>
                      <a:cubicBezTo>
                        <a:pt x="540176" y="447892"/>
                        <a:pt x="535285" y="443001"/>
                        <a:pt x="535285" y="436968"/>
                      </a:cubicBezTo>
                      <a:cubicBezTo>
                        <a:pt x="535285" y="430934"/>
                        <a:pt x="540176" y="426043"/>
                        <a:pt x="546209" y="426043"/>
                      </a:cubicBezTo>
                      <a:lnTo>
                        <a:pt x="568058" y="426043"/>
                      </a:lnTo>
                      <a:cubicBezTo>
                        <a:pt x="567976" y="363954"/>
                        <a:pt x="520644" y="312130"/>
                        <a:pt x="458816" y="306434"/>
                      </a:cubicBezTo>
                      <a:lnTo>
                        <a:pt x="458816" y="327726"/>
                      </a:lnTo>
                      <a:cubicBezTo>
                        <a:pt x="458816" y="333759"/>
                        <a:pt x="453925" y="338650"/>
                        <a:pt x="447891" y="338650"/>
                      </a:cubicBezTo>
                      <a:cubicBezTo>
                        <a:pt x="441858" y="338650"/>
                        <a:pt x="436967" y="333759"/>
                        <a:pt x="436967" y="327726"/>
                      </a:cubicBezTo>
                      <a:close/>
                      <a:moveTo>
                        <a:pt x="207560" y="294953"/>
                      </a:moveTo>
                      <a:cubicBezTo>
                        <a:pt x="201526" y="294953"/>
                        <a:pt x="196635" y="299844"/>
                        <a:pt x="196635" y="305878"/>
                      </a:cubicBezTo>
                      <a:cubicBezTo>
                        <a:pt x="196635" y="311911"/>
                        <a:pt x="201526" y="316802"/>
                        <a:pt x="207560" y="316802"/>
                      </a:cubicBezTo>
                      <a:cubicBezTo>
                        <a:pt x="213593" y="316802"/>
                        <a:pt x="218484" y="311911"/>
                        <a:pt x="218484" y="305878"/>
                      </a:cubicBezTo>
                      <a:cubicBezTo>
                        <a:pt x="218484" y="299844"/>
                        <a:pt x="213593" y="294953"/>
                        <a:pt x="207560" y="294953"/>
                      </a:cubicBezTo>
                      <a:close/>
                      <a:moveTo>
                        <a:pt x="98318" y="294953"/>
                      </a:moveTo>
                      <a:cubicBezTo>
                        <a:pt x="92284" y="294953"/>
                        <a:pt x="87393" y="299844"/>
                        <a:pt x="87393" y="305878"/>
                      </a:cubicBezTo>
                      <a:cubicBezTo>
                        <a:pt x="87393" y="311911"/>
                        <a:pt x="92284" y="316802"/>
                        <a:pt x="98318" y="316802"/>
                      </a:cubicBezTo>
                      <a:cubicBezTo>
                        <a:pt x="104351" y="316802"/>
                        <a:pt x="109242" y="311911"/>
                        <a:pt x="109242" y="305878"/>
                      </a:cubicBezTo>
                      <a:cubicBezTo>
                        <a:pt x="109242" y="299844"/>
                        <a:pt x="104351" y="294953"/>
                        <a:pt x="98318" y="294953"/>
                      </a:cubicBezTo>
                      <a:close/>
                      <a:moveTo>
                        <a:pt x="447891" y="284029"/>
                      </a:moveTo>
                      <a:cubicBezTo>
                        <a:pt x="526324" y="284029"/>
                        <a:pt x="589906" y="347611"/>
                        <a:pt x="589906" y="426043"/>
                      </a:cubicBezTo>
                      <a:cubicBezTo>
                        <a:pt x="589906" y="504476"/>
                        <a:pt x="526324" y="568058"/>
                        <a:pt x="447891" y="568058"/>
                      </a:cubicBezTo>
                      <a:cubicBezTo>
                        <a:pt x="369459" y="568058"/>
                        <a:pt x="305877" y="504476"/>
                        <a:pt x="305877" y="426043"/>
                      </a:cubicBezTo>
                      <a:cubicBezTo>
                        <a:pt x="305968" y="347648"/>
                        <a:pt x="369496" y="284120"/>
                        <a:pt x="447891" y="284029"/>
                      </a:cubicBezTo>
                      <a:close/>
                      <a:moveTo>
                        <a:pt x="207560" y="273105"/>
                      </a:moveTo>
                      <a:cubicBezTo>
                        <a:pt x="225660" y="273105"/>
                        <a:pt x="240332" y="287777"/>
                        <a:pt x="240332" y="305878"/>
                      </a:cubicBezTo>
                      <a:cubicBezTo>
                        <a:pt x="240332" y="323978"/>
                        <a:pt x="225660" y="338650"/>
                        <a:pt x="207560" y="338650"/>
                      </a:cubicBezTo>
                      <a:cubicBezTo>
                        <a:pt x="189459" y="338650"/>
                        <a:pt x="174787" y="323978"/>
                        <a:pt x="174787" y="305878"/>
                      </a:cubicBezTo>
                      <a:cubicBezTo>
                        <a:pt x="174787" y="287777"/>
                        <a:pt x="189459" y="273105"/>
                        <a:pt x="207560" y="273105"/>
                      </a:cubicBezTo>
                      <a:close/>
                      <a:moveTo>
                        <a:pt x="98318" y="273105"/>
                      </a:moveTo>
                      <a:cubicBezTo>
                        <a:pt x="116418" y="273105"/>
                        <a:pt x="131090" y="287777"/>
                        <a:pt x="131090" y="305878"/>
                      </a:cubicBezTo>
                      <a:cubicBezTo>
                        <a:pt x="131090" y="323978"/>
                        <a:pt x="116418" y="338650"/>
                        <a:pt x="98318" y="338650"/>
                      </a:cubicBezTo>
                      <a:cubicBezTo>
                        <a:pt x="80217" y="338650"/>
                        <a:pt x="65545" y="323978"/>
                        <a:pt x="65545" y="305878"/>
                      </a:cubicBezTo>
                      <a:cubicBezTo>
                        <a:pt x="65545" y="287777"/>
                        <a:pt x="80217" y="273105"/>
                        <a:pt x="98318" y="273105"/>
                      </a:cubicBezTo>
                      <a:close/>
                      <a:moveTo>
                        <a:pt x="447892" y="262181"/>
                      </a:moveTo>
                      <a:cubicBezTo>
                        <a:pt x="357392" y="262181"/>
                        <a:pt x="284029" y="335544"/>
                        <a:pt x="284029" y="426043"/>
                      </a:cubicBezTo>
                      <a:cubicBezTo>
                        <a:pt x="284029" y="516543"/>
                        <a:pt x="357392" y="589906"/>
                        <a:pt x="447892" y="589906"/>
                      </a:cubicBezTo>
                      <a:cubicBezTo>
                        <a:pt x="538391" y="589906"/>
                        <a:pt x="611755" y="516543"/>
                        <a:pt x="611755" y="426043"/>
                      </a:cubicBezTo>
                      <a:cubicBezTo>
                        <a:pt x="611652" y="335587"/>
                        <a:pt x="538348" y="262283"/>
                        <a:pt x="447892" y="262181"/>
                      </a:cubicBezTo>
                      <a:close/>
                      <a:moveTo>
                        <a:pt x="316802" y="207559"/>
                      </a:moveTo>
                      <a:cubicBezTo>
                        <a:pt x="310768" y="207559"/>
                        <a:pt x="305877" y="212450"/>
                        <a:pt x="305877" y="218484"/>
                      </a:cubicBezTo>
                      <a:cubicBezTo>
                        <a:pt x="305877" y="224517"/>
                        <a:pt x="310768" y="229408"/>
                        <a:pt x="316802" y="229408"/>
                      </a:cubicBezTo>
                      <a:cubicBezTo>
                        <a:pt x="322835" y="229408"/>
                        <a:pt x="327726" y="224517"/>
                        <a:pt x="327726" y="218484"/>
                      </a:cubicBezTo>
                      <a:cubicBezTo>
                        <a:pt x="327726" y="212450"/>
                        <a:pt x="322835" y="207559"/>
                        <a:pt x="316802" y="207559"/>
                      </a:cubicBezTo>
                      <a:close/>
                      <a:moveTo>
                        <a:pt x="207560" y="207559"/>
                      </a:moveTo>
                      <a:cubicBezTo>
                        <a:pt x="201526" y="207559"/>
                        <a:pt x="196635" y="212450"/>
                        <a:pt x="196635" y="218484"/>
                      </a:cubicBezTo>
                      <a:cubicBezTo>
                        <a:pt x="196635" y="224517"/>
                        <a:pt x="201526" y="229408"/>
                        <a:pt x="207560" y="229408"/>
                      </a:cubicBezTo>
                      <a:cubicBezTo>
                        <a:pt x="213593" y="229408"/>
                        <a:pt x="218484" y="224517"/>
                        <a:pt x="218484" y="218484"/>
                      </a:cubicBezTo>
                      <a:cubicBezTo>
                        <a:pt x="218484" y="212450"/>
                        <a:pt x="213593" y="207559"/>
                        <a:pt x="207560" y="207559"/>
                      </a:cubicBezTo>
                      <a:close/>
                      <a:moveTo>
                        <a:pt x="98318" y="207559"/>
                      </a:moveTo>
                      <a:cubicBezTo>
                        <a:pt x="92284" y="207559"/>
                        <a:pt x="87393" y="212450"/>
                        <a:pt x="87393" y="218484"/>
                      </a:cubicBezTo>
                      <a:cubicBezTo>
                        <a:pt x="87393" y="224517"/>
                        <a:pt x="92284" y="229408"/>
                        <a:pt x="98318" y="229408"/>
                      </a:cubicBezTo>
                      <a:cubicBezTo>
                        <a:pt x="104351" y="229408"/>
                        <a:pt x="109242" y="224517"/>
                        <a:pt x="109242" y="218484"/>
                      </a:cubicBezTo>
                      <a:cubicBezTo>
                        <a:pt x="109242" y="212450"/>
                        <a:pt x="104351" y="207559"/>
                        <a:pt x="98318" y="207559"/>
                      </a:cubicBezTo>
                      <a:close/>
                      <a:moveTo>
                        <a:pt x="316802" y="185711"/>
                      </a:moveTo>
                      <a:cubicBezTo>
                        <a:pt x="334902" y="185711"/>
                        <a:pt x="349574" y="200383"/>
                        <a:pt x="349574" y="218484"/>
                      </a:cubicBezTo>
                      <a:cubicBezTo>
                        <a:pt x="349574" y="236584"/>
                        <a:pt x="334902" y="251256"/>
                        <a:pt x="316802" y="251256"/>
                      </a:cubicBezTo>
                      <a:cubicBezTo>
                        <a:pt x="298701" y="251256"/>
                        <a:pt x="284029" y="236584"/>
                        <a:pt x="284029" y="218484"/>
                      </a:cubicBezTo>
                      <a:cubicBezTo>
                        <a:pt x="284029" y="200383"/>
                        <a:pt x="298701" y="185711"/>
                        <a:pt x="316802" y="185711"/>
                      </a:cubicBezTo>
                      <a:close/>
                      <a:moveTo>
                        <a:pt x="207560" y="185711"/>
                      </a:moveTo>
                      <a:cubicBezTo>
                        <a:pt x="225660" y="185711"/>
                        <a:pt x="240332" y="200383"/>
                        <a:pt x="240332" y="218484"/>
                      </a:cubicBezTo>
                      <a:cubicBezTo>
                        <a:pt x="240332" y="236584"/>
                        <a:pt x="225660" y="251256"/>
                        <a:pt x="207560" y="251256"/>
                      </a:cubicBezTo>
                      <a:cubicBezTo>
                        <a:pt x="189459" y="251256"/>
                        <a:pt x="174787" y="236584"/>
                        <a:pt x="174787" y="218484"/>
                      </a:cubicBezTo>
                      <a:cubicBezTo>
                        <a:pt x="174787" y="200383"/>
                        <a:pt x="189459" y="185711"/>
                        <a:pt x="207560" y="185711"/>
                      </a:cubicBezTo>
                      <a:close/>
                      <a:moveTo>
                        <a:pt x="98318" y="185711"/>
                      </a:moveTo>
                      <a:cubicBezTo>
                        <a:pt x="116418" y="185711"/>
                        <a:pt x="131090" y="200383"/>
                        <a:pt x="131090" y="218484"/>
                      </a:cubicBezTo>
                      <a:cubicBezTo>
                        <a:pt x="131090" y="236584"/>
                        <a:pt x="116418" y="251256"/>
                        <a:pt x="98318" y="251256"/>
                      </a:cubicBezTo>
                      <a:cubicBezTo>
                        <a:pt x="80217" y="251256"/>
                        <a:pt x="65545" y="236584"/>
                        <a:pt x="65545" y="218484"/>
                      </a:cubicBezTo>
                      <a:cubicBezTo>
                        <a:pt x="65545" y="200383"/>
                        <a:pt x="80217" y="185711"/>
                        <a:pt x="98318" y="185711"/>
                      </a:cubicBezTo>
                      <a:close/>
                      <a:moveTo>
                        <a:pt x="21848" y="142014"/>
                      </a:moveTo>
                      <a:lnTo>
                        <a:pt x="21848" y="513437"/>
                      </a:lnTo>
                      <a:lnTo>
                        <a:pt x="284116" y="513437"/>
                      </a:lnTo>
                      <a:cubicBezTo>
                        <a:pt x="269694" y="486472"/>
                        <a:pt x="262159" y="456360"/>
                        <a:pt x="262181" y="425781"/>
                      </a:cubicBezTo>
                      <a:cubicBezTo>
                        <a:pt x="262253" y="323288"/>
                        <a:pt x="345399" y="240260"/>
                        <a:pt x="447892" y="240332"/>
                      </a:cubicBezTo>
                      <a:cubicBezTo>
                        <a:pt x="466408" y="240324"/>
                        <a:pt x="484820" y="243098"/>
                        <a:pt x="502513" y="248558"/>
                      </a:cubicBezTo>
                      <a:lnTo>
                        <a:pt x="502513" y="142014"/>
                      </a:lnTo>
                      <a:close/>
                      <a:moveTo>
                        <a:pt x="32773" y="54621"/>
                      </a:moveTo>
                      <a:cubicBezTo>
                        <a:pt x="26739" y="54621"/>
                        <a:pt x="21848" y="59512"/>
                        <a:pt x="21848" y="65545"/>
                      </a:cubicBezTo>
                      <a:lnTo>
                        <a:pt x="21848" y="120166"/>
                      </a:lnTo>
                      <a:lnTo>
                        <a:pt x="502513" y="120166"/>
                      </a:lnTo>
                      <a:lnTo>
                        <a:pt x="502513" y="65545"/>
                      </a:lnTo>
                      <a:cubicBezTo>
                        <a:pt x="502513" y="59512"/>
                        <a:pt x="497622" y="54621"/>
                        <a:pt x="491588" y="54621"/>
                      </a:cubicBezTo>
                      <a:lnTo>
                        <a:pt x="458816" y="54621"/>
                      </a:lnTo>
                      <a:lnTo>
                        <a:pt x="458816" y="76469"/>
                      </a:lnTo>
                      <a:cubicBezTo>
                        <a:pt x="458816" y="82503"/>
                        <a:pt x="453925" y="87394"/>
                        <a:pt x="447892" y="87394"/>
                      </a:cubicBezTo>
                      <a:lnTo>
                        <a:pt x="404195" y="87394"/>
                      </a:lnTo>
                      <a:cubicBezTo>
                        <a:pt x="398162" y="87394"/>
                        <a:pt x="393271" y="82503"/>
                        <a:pt x="393271" y="76469"/>
                      </a:cubicBezTo>
                      <a:lnTo>
                        <a:pt x="393271" y="54621"/>
                      </a:lnTo>
                      <a:lnTo>
                        <a:pt x="349574" y="54621"/>
                      </a:lnTo>
                      <a:lnTo>
                        <a:pt x="349574" y="76469"/>
                      </a:lnTo>
                      <a:cubicBezTo>
                        <a:pt x="349574" y="82503"/>
                        <a:pt x="344683" y="87394"/>
                        <a:pt x="338650" y="87394"/>
                      </a:cubicBezTo>
                      <a:lnTo>
                        <a:pt x="294953" y="87394"/>
                      </a:lnTo>
                      <a:cubicBezTo>
                        <a:pt x="288920" y="87394"/>
                        <a:pt x="284029" y="82503"/>
                        <a:pt x="284029" y="76469"/>
                      </a:cubicBezTo>
                      <a:lnTo>
                        <a:pt x="284029" y="54621"/>
                      </a:lnTo>
                      <a:lnTo>
                        <a:pt x="240332" y="54621"/>
                      </a:lnTo>
                      <a:lnTo>
                        <a:pt x="240332" y="76469"/>
                      </a:lnTo>
                      <a:cubicBezTo>
                        <a:pt x="240332" y="82503"/>
                        <a:pt x="235441" y="87394"/>
                        <a:pt x="229408" y="87394"/>
                      </a:cubicBezTo>
                      <a:lnTo>
                        <a:pt x="185711" y="87394"/>
                      </a:lnTo>
                      <a:cubicBezTo>
                        <a:pt x="179678" y="87394"/>
                        <a:pt x="174787" y="82503"/>
                        <a:pt x="174787" y="76469"/>
                      </a:cubicBezTo>
                      <a:lnTo>
                        <a:pt x="174787" y="54621"/>
                      </a:lnTo>
                      <a:lnTo>
                        <a:pt x="131090" y="54621"/>
                      </a:lnTo>
                      <a:lnTo>
                        <a:pt x="131090" y="76469"/>
                      </a:lnTo>
                      <a:cubicBezTo>
                        <a:pt x="131090" y="82503"/>
                        <a:pt x="126200" y="87394"/>
                        <a:pt x="120166" y="87394"/>
                      </a:cubicBezTo>
                      <a:lnTo>
                        <a:pt x="76469" y="87394"/>
                      </a:lnTo>
                      <a:cubicBezTo>
                        <a:pt x="70436" y="87394"/>
                        <a:pt x="65545" y="82503"/>
                        <a:pt x="65545" y="76469"/>
                      </a:cubicBezTo>
                      <a:lnTo>
                        <a:pt x="65545" y="54621"/>
                      </a:lnTo>
                      <a:close/>
                      <a:moveTo>
                        <a:pt x="426043" y="21848"/>
                      </a:moveTo>
                      <a:cubicBezTo>
                        <a:pt x="420010" y="21848"/>
                        <a:pt x="415119" y="26739"/>
                        <a:pt x="415119" y="32773"/>
                      </a:cubicBezTo>
                      <a:lnTo>
                        <a:pt x="415119" y="65545"/>
                      </a:lnTo>
                      <a:lnTo>
                        <a:pt x="436968" y="65545"/>
                      </a:lnTo>
                      <a:lnTo>
                        <a:pt x="436968" y="32773"/>
                      </a:lnTo>
                      <a:cubicBezTo>
                        <a:pt x="436968" y="26739"/>
                        <a:pt x="432077" y="21848"/>
                        <a:pt x="426043" y="21848"/>
                      </a:cubicBezTo>
                      <a:close/>
                      <a:moveTo>
                        <a:pt x="316801" y="21848"/>
                      </a:moveTo>
                      <a:cubicBezTo>
                        <a:pt x="310768" y="21848"/>
                        <a:pt x="305877" y="26739"/>
                        <a:pt x="305877" y="32773"/>
                      </a:cubicBezTo>
                      <a:lnTo>
                        <a:pt x="305877" y="65545"/>
                      </a:lnTo>
                      <a:lnTo>
                        <a:pt x="327726" y="65545"/>
                      </a:lnTo>
                      <a:lnTo>
                        <a:pt x="327726" y="32773"/>
                      </a:lnTo>
                      <a:cubicBezTo>
                        <a:pt x="327726" y="26739"/>
                        <a:pt x="322835" y="21848"/>
                        <a:pt x="316801" y="21848"/>
                      </a:cubicBezTo>
                      <a:close/>
                      <a:moveTo>
                        <a:pt x="207560" y="21848"/>
                      </a:moveTo>
                      <a:cubicBezTo>
                        <a:pt x="201526" y="21848"/>
                        <a:pt x="196635" y="26739"/>
                        <a:pt x="196635" y="32773"/>
                      </a:cubicBezTo>
                      <a:lnTo>
                        <a:pt x="196635" y="65545"/>
                      </a:lnTo>
                      <a:lnTo>
                        <a:pt x="218484" y="65545"/>
                      </a:lnTo>
                      <a:lnTo>
                        <a:pt x="218484" y="32773"/>
                      </a:lnTo>
                      <a:cubicBezTo>
                        <a:pt x="218484" y="26739"/>
                        <a:pt x="213593" y="21848"/>
                        <a:pt x="207560" y="21848"/>
                      </a:cubicBezTo>
                      <a:close/>
                      <a:moveTo>
                        <a:pt x="98318" y="21848"/>
                      </a:moveTo>
                      <a:cubicBezTo>
                        <a:pt x="92284" y="21848"/>
                        <a:pt x="87394" y="26739"/>
                        <a:pt x="87394" y="32773"/>
                      </a:cubicBezTo>
                      <a:lnTo>
                        <a:pt x="87394" y="65545"/>
                      </a:lnTo>
                      <a:lnTo>
                        <a:pt x="109242" y="65545"/>
                      </a:lnTo>
                      <a:lnTo>
                        <a:pt x="109242" y="32773"/>
                      </a:lnTo>
                      <a:cubicBezTo>
                        <a:pt x="109242" y="26739"/>
                        <a:pt x="104351" y="21848"/>
                        <a:pt x="98318" y="21848"/>
                      </a:cubicBezTo>
                      <a:close/>
                      <a:moveTo>
                        <a:pt x="98318" y="0"/>
                      </a:moveTo>
                      <a:cubicBezTo>
                        <a:pt x="116418" y="0"/>
                        <a:pt x="131090" y="14673"/>
                        <a:pt x="131090" y="32773"/>
                      </a:cubicBezTo>
                      <a:lnTo>
                        <a:pt x="174787" y="32773"/>
                      </a:lnTo>
                      <a:cubicBezTo>
                        <a:pt x="174787" y="14673"/>
                        <a:pt x="189459" y="0"/>
                        <a:pt x="207560" y="0"/>
                      </a:cubicBezTo>
                      <a:cubicBezTo>
                        <a:pt x="225660" y="0"/>
                        <a:pt x="240332" y="14673"/>
                        <a:pt x="240332" y="32773"/>
                      </a:cubicBezTo>
                      <a:lnTo>
                        <a:pt x="284029" y="32773"/>
                      </a:lnTo>
                      <a:cubicBezTo>
                        <a:pt x="284029" y="14673"/>
                        <a:pt x="298701" y="0"/>
                        <a:pt x="316801" y="0"/>
                      </a:cubicBezTo>
                      <a:cubicBezTo>
                        <a:pt x="334902" y="0"/>
                        <a:pt x="349574" y="14673"/>
                        <a:pt x="349574" y="32773"/>
                      </a:cubicBezTo>
                      <a:lnTo>
                        <a:pt x="393271" y="32773"/>
                      </a:lnTo>
                      <a:cubicBezTo>
                        <a:pt x="393271" y="14673"/>
                        <a:pt x="407943" y="0"/>
                        <a:pt x="426043" y="0"/>
                      </a:cubicBezTo>
                      <a:cubicBezTo>
                        <a:pt x="444144" y="0"/>
                        <a:pt x="458816" y="14673"/>
                        <a:pt x="458816" y="32773"/>
                      </a:cubicBezTo>
                      <a:lnTo>
                        <a:pt x="491588" y="32773"/>
                      </a:lnTo>
                      <a:cubicBezTo>
                        <a:pt x="509689" y="32773"/>
                        <a:pt x="524361" y="47445"/>
                        <a:pt x="524361" y="65545"/>
                      </a:cubicBezTo>
                      <a:lnTo>
                        <a:pt x="524361" y="257002"/>
                      </a:lnTo>
                      <a:cubicBezTo>
                        <a:pt x="534506" y="261581"/>
                        <a:pt x="544219" y="267063"/>
                        <a:pt x="553381" y="273382"/>
                      </a:cubicBezTo>
                      <a:cubicBezTo>
                        <a:pt x="637749" y="331569"/>
                        <a:pt x="658973" y="447131"/>
                        <a:pt x="600787" y="531499"/>
                      </a:cubicBezTo>
                      <a:cubicBezTo>
                        <a:pt x="542601" y="615867"/>
                        <a:pt x="427037" y="637092"/>
                        <a:pt x="342670" y="578905"/>
                      </a:cubicBezTo>
                      <a:cubicBezTo>
                        <a:pt x="342539" y="578905"/>
                        <a:pt x="342430" y="578982"/>
                        <a:pt x="342288" y="578982"/>
                      </a:cubicBezTo>
                      <a:lnTo>
                        <a:pt x="54621" y="578982"/>
                      </a:lnTo>
                      <a:cubicBezTo>
                        <a:pt x="48588" y="578982"/>
                        <a:pt x="43697" y="574091"/>
                        <a:pt x="43697" y="568058"/>
                      </a:cubicBezTo>
                      <a:lnTo>
                        <a:pt x="43697" y="535285"/>
                      </a:lnTo>
                      <a:lnTo>
                        <a:pt x="10924" y="535285"/>
                      </a:lnTo>
                      <a:cubicBezTo>
                        <a:pt x="4891" y="535285"/>
                        <a:pt x="0" y="530394"/>
                        <a:pt x="0" y="524361"/>
                      </a:cubicBezTo>
                      <a:lnTo>
                        <a:pt x="0" y="65545"/>
                      </a:lnTo>
                      <a:cubicBezTo>
                        <a:pt x="0" y="47445"/>
                        <a:pt x="14673" y="32773"/>
                        <a:pt x="32773" y="32773"/>
                      </a:cubicBezTo>
                      <a:lnTo>
                        <a:pt x="65545" y="32773"/>
                      </a:lnTo>
                      <a:cubicBezTo>
                        <a:pt x="65545" y="14673"/>
                        <a:pt x="80217" y="0"/>
                        <a:pt x="98318" y="0"/>
                      </a:cubicBezTo>
                      <a:close/>
                    </a:path>
                  </a:pathLst>
                </a:custGeom>
                <a:solidFill>
                  <a:srgbClr val="23417E"/>
                </a:solidFill>
                <a:ln w="1086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sp>
          <p:nvSpPr>
            <p:cNvPr id="5121" name="Textbox">
              <a:extLst>
                <a:ext uri="{FF2B5EF4-FFF2-40B4-BE49-F238E27FC236}">
                  <a16:creationId xmlns:a16="http://schemas.microsoft.com/office/drawing/2014/main" id="{A02B5D14-1730-1E6C-05BC-654987D4FCDD}"/>
                </a:ext>
              </a:extLst>
            </p:cNvPr>
            <p:cNvSpPr txBox="1">
              <a:spLocks/>
            </p:cNvSpPr>
            <p:nvPr/>
          </p:nvSpPr>
          <p:spPr>
            <a:xfrm>
              <a:off x="1922519" y="5187192"/>
              <a:ext cx="3850509" cy="73152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4 </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stations built by the Authority</a:t>
              </a:r>
            </a:p>
          </p:txBody>
        </p:sp>
        <p:cxnSp>
          <p:nvCxnSpPr>
            <p:cNvPr id="5134" name="Straight Connector 5133">
              <a:extLst>
                <a:ext uri="{FF2B5EF4-FFF2-40B4-BE49-F238E27FC236}">
                  <a16:creationId xmlns:a16="http://schemas.microsoft.com/office/drawing/2014/main" id="{B816BB58-5F2D-5875-8B24-5E6183993A29}"/>
                </a:ext>
              </a:extLst>
            </p:cNvPr>
            <p:cNvCxnSpPr>
              <a:cxnSpLocks/>
            </p:cNvCxnSpPr>
            <p:nvPr/>
          </p:nvCxnSpPr>
          <p:spPr>
            <a:xfrm rot="10800000">
              <a:off x="1732509" y="2771927"/>
              <a:ext cx="0" cy="3108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35" name="Straight Connector 5134">
              <a:extLst>
                <a:ext uri="{FF2B5EF4-FFF2-40B4-BE49-F238E27FC236}">
                  <a16:creationId xmlns:a16="http://schemas.microsoft.com/office/drawing/2014/main" id="{48CBE51D-3131-C738-482A-D6676CA57BED}"/>
                </a:ext>
              </a:extLst>
            </p:cNvPr>
            <p:cNvCxnSpPr>
              <a:cxnSpLocks/>
            </p:cNvCxnSpPr>
            <p:nvPr/>
          </p:nvCxnSpPr>
          <p:spPr>
            <a:xfrm rot="10800000">
              <a:off x="1458189" y="4326407"/>
              <a:ext cx="274320" cy="0"/>
            </a:xfrm>
            <a:prstGeom prst="line">
              <a:avLst/>
            </a:prstGeom>
            <a:ln>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a:extLst>
                <a:ext uri="{FF2B5EF4-FFF2-40B4-BE49-F238E27FC236}">
                  <a16:creationId xmlns:a16="http://schemas.microsoft.com/office/drawing/2014/main" id="{AF6C65FC-CBD5-DA72-EBB4-47B0C5F8DF29}"/>
                </a:ext>
              </a:extLst>
            </p:cNvPr>
            <p:cNvSpPr txBox="1">
              <a:spLocks/>
            </p:cNvSpPr>
            <p:nvPr/>
          </p:nvSpPr>
          <p:spPr>
            <a:xfrm>
              <a:off x="1922519" y="2771927"/>
              <a:ext cx="3850509" cy="731520"/>
            </a:xfrm>
            <a:prstGeom prst="rect">
              <a:avLst/>
            </a:prstGeom>
          </p:spPr>
          <p:txBody>
            <a:bodyPr vert="horz" lIns="0" tIns="0" rIns="0" bIns="0" rtlCol="0" anchor="ctr" anchorCtr="0">
              <a:noAutofit/>
            </a:bodyPr>
            <a:lstStyle>
              <a:defPPr>
                <a:defRPr lang="en-US"/>
              </a:defPPr>
              <a:lvl1pPr marL="177796" marR="0" lvl="0" indent="-177796" defTabSz="914377" fontAlgn="auto">
                <a:lnSpc>
                  <a:spcPct val="100000"/>
                </a:lnSpc>
                <a:spcBef>
                  <a:spcPct val="20000"/>
                </a:spcBef>
                <a:spcAft>
                  <a:spcPts val="0"/>
                </a:spcAft>
                <a:buClr>
                  <a:schemeClr val="tx1"/>
                </a:buClr>
                <a:buSzPct val="100000"/>
                <a:buFont typeface="DB Sans" panose="020B0502050202020204" pitchFamily="34" charset="0"/>
                <a:buChar char="‒"/>
                <a:tabLst/>
                <a:defRPr sz="2000">
                  <a:solidFill>
                    <a:srgbClr val="23417E"/>
                  </a:solidFill>
                  <a:latin typeface="Arial Narrow" pitchFamily="34" charset="0"/>
                  <a:cs typeface="Arial" pitchFamily="34" charset="0"/>
                </a:defRPr>
              </a:lvl1pPr>
              <a:lvl2pPr marL="177800" indent="-177800" defTabSz="914400">
                <a:lnSpc>
                  <a:spcPct val="100000"/>
                </a:lnSpc>
                <a:spcBef>
                  <a:spcPts val="0"/>
                </a:spcBef>
                <a:buClr>
                  <a:schemeClr val="accent2"/>
                </a:buClr>
                <a:buFont typeface="DB Sans" panose="020B0502050202020204" pitchFamily="34" charset="0"/>
                <a:buChar char="‒"/>
                <a:defRPr sz="1600"/>
              </a:lvl2pPr>
              <a:lvl3pPr marL="357188" indent="-179388" defTabSz="914400">
                <a:lnSpc>
                  <a:spcPct val="100000"/>
                </a:lnSpc>
                <a:spcBef>
                  <a:spcPts val="0"/>
                </a:spcBef>
                <a:buClr>
                  <a:schemeClr val="accent2"/>
                </a:buClr>
                <a:buFont typeface="DB Sans" panose="020B0502050202020204" pitchFamily="34" charset="0"/>
                <a:buChar char="‒"/>
                <a:defRPr sz="1600"/>
              </a:lvl3pPr>
              <a:lvl4pPr marL="539750" indent="-182563" defTabSz="914400">
                <a:lnSpc>
                  <a:spcPct val="100000"/>
                </a:lnSpc>
                <a:spcBef>
                  <a:spcPts val="0"/>
                </a:spcBef>
                <a:buClr>
                  <a:schemeClr val="accent2"/>
                </a:buClr>
                <a:buFont typeface="DB Sans" panose="020B0502050202020204" pitchFamily="34" charset="0"/>
                <a:buChar char="‒"/>
                <a:defRPr sz="1600"/>
              </a:lvl4pPr>
              <a:lvl5pPr marL="717550" indent="-177800" defTabSz="914400">
                <a:lnSpc>
                  <a:spcPct val="100000"/>
                </a:lnSpc>
                <a:spcBef>
                  <a:spcPts val="0"/>
                </a:spcBef>
                <a:buClr>
                  <a:schemeClr val="accent2"/>
                </a:buClr>
                <a:buFont typeface="DB Sans" panose="020B0502050202020204" pitchFamily="34" charset="0"/>
                <a:buChar char="‒"/>
                <a:defRPr sz="16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00000"/>
                </a:lnSpc>
                <a:spcBef>
                  <a:spcPct val="20000"/>
                </a:spcBef>
                <a:spcAft>
                  <a:spcPts val="0"/>
                </a:spcAft>
                <a:buClr>
                  <a:srgbClr val="23417E"/>
                </a:buClr>
                <a:buSzPct val="100000"/>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Hourly High-Speed Rail service </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in both directions between Merced &amp; Bakersfield</a:t>
              </a:r>
              <a:endPar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grpSp>
        <p:nvGrpSpPr>
          <p:cNvPr id="23" name="easyIcon">
            <a:extLst>
              <a:ext uri="{FF2B5EF4-FFF2-40B4-BE49-F238E27FC236}">
                <a16:creationId xmlns:a16="http://schemas.microsoft.com/office/drawing/2014/main" id="{34D2C30C-EA66-EBF4-AE56-83601E8F81E3}"/>
              </a:ext>
            </a:extLst>
          </p:cNvPr>
          <p:cNvGrpSpPr>
            <a:grpSpLocks noChangeAspect="1"/>
          </p:cNvGrpSpPr>
          <p:nvPr>
            <p:custDataLst>
              <p:tags r:id="rId4"/>
            </p:custDataLst>
          </p:nvPr>
        </p:nvGrpSpPr>
        <p:grpSpPr>
          <a:xfrm>
            <a:off x="6833699" y="5084254"/>
            <a:ext cx="503998" cy="504001"/>
            <a:chOff x="8741176" y="2096002"/>
            <a:chExt cx="297521" cy="297521"/>
          </a:xfrm>
        </p:grpSpPr>
        <p:sp>
          <p:nvSpPr>
            <p:cNvPr id="24" name="Background">
              <a:extLst>
                <a:ext uri="{FF2B5EF4-FFF2-40B4-BE49-F238E27FC236}">
                  <a16:creationId xmlns:a16="http://schemas.microsoft.com/office/drawing/2014/main" id="{B1935B62-0605-D592-81FB-DB2EE4CD0A6F}"/>
                </a:ext>
              </a:extLst>
            </p:cNvPr>
            <p:cNvSpPr/>
            <p:nvPr/>
          </p:nvSpPr>
          <p:spPr>
            <a:xfrm>
              <a:off x="8741176" y="2096002"/>
              <a:ext cx="297521" cy="297521"/>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pic>
          <p:nvPicPr>
            <p:cNvPr id="25" name="Vector">
              <a:extLst>
                <a:ext uri="{FF2B5EF4-FFF2-40B4-BE49-F238E27FC236}">
                  <a16:creationId xmlns:a16="http://schemas.microsoft.com/office/drawing/2014/main" id="{487202D2-D9DB-5B31-D99B-30746973E0CF}"/>
                </a:ext>
              </a:extLst>
            </p:cNvPr>
            <p:cNvPicPr>
              <a:picLocks noChangeAspect="1"/>
            </p:cNvPicPr>
            <p:nvPr>
              <p:custDataLst>
                <p:tags r:id="rId5"/>
              </p:custDataLst>
            </p:nvPr>
          </p:nvPicPr>
          <p:blipFill>
            <a:blip r:embed="rId15">
              <a:extLst>
                <a:ext uri="{28A0092B-C50C-407E-A947-70E740481C1C}">
                  <a14:useLocalDpi xmlns:a14="http://schemas.microsoft.com/office/drawing/2010/main"/>
                </a:ext>
                <a:ext uri="{96DAC541-7B7A-43D3-8B79-37D633B846F1}">
                  <asvg:svgBlip xmlns:asvg="http://schemas.microsoft.com/office/drawing/2016/SVG/main" xmlns="" r:embed="rId16"/>
                </a:ext>
              </a:extLst>
            </a:blip>
            <a:srcRect/>
            <a:stretch>
              <a:fillRect/>
            </a:stretch>
          </p:blipFill>
          <p:spPr>
            <a:xfrm>
              <a:off x="8771135" y="2125963"/>
              <a:ext cx="237600" cy="237600"/>
            </a:xfrm>
            <a:prstGeom prst="rect">
              <a:avLst/>
            </a:prstGeom>
          </p:spPr>
        </p:pic>
      </p:grpSp>
    </p:spTree>
    <p:extLst>
      <p:ext uri="{BB962C8B-B14F-4D97-AF65-F5344CB8AC3E}">
        <p14:creationId xmlns:p14="http://schemas.microsoft.com/office/powerpoint/2010/main" val="26468775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89422-AEE8-6436-360F-D55FB12BABD6}"/>
            </a:ext>
          </a:extLst>
        </p:cNvPr>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91C50EFB-A47E-F34B-44CB-70EEEB388C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8" imgW="484" imgH="486" progId="TCLayout.ActiveDocument.1">
                  <p:embed/>
                </p:oleObj>
              </mc:Choice>
              <mc:Fallback>
                <p:oleObj name="think-cell Slide" r:id="rId8" imgW="484" imgH="486" progId="TCLayout.ActiveDocument.1">
                  <p:embed/>
                  <p:pic>
                    <p:nvPicPr>
                      <p:cNvPr id="25" name="think-cell data - do not delete" hidden="1">
                        <a:extLst>
                          <a:ext uri="{FF2B5EF4-FFF2-40B4-BE49-F238E27FC236}">
                            <a16:creationId xmlns:a16="http://schemas.microsoft.com/office/drawing/2014/main" id="{91C50EFB-A47E-F34B-44CB-70EEEB388C7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86" name="Isosceles Triangle 185">
            <a:extLst>
              <a:ext uri="{FF2B5EF4-FFF2-40B4-BE49-F238E27FC236}">
                <a16:creationId xmlns:a16="http://schemas.microsoft.com/office/drawing/2014/main" id="{CD754981-49F1-4A60-D166-E5EF41B89420}"/>
              </a:ext>
            </a:extLst>
          </p:cNvPr>
          <p:cNvSpPr/>
          <p:nvPr/>
        </p:nvSpPr>
        <p:spPr>
          <a:xfrm rot="16200000">
            <a:off x="4369849" y="553699"/>
            <a:ext cx="2852630" cy="5499334"/>
          </a:xfrm>
          <a:custGeom>
            <a:avLst/>
            <a:gdLst>
              <a:gd name="connsiteX0" fmla="*/ 0 w 1300899"/>
              <a:gd name="connsiteY0" fmla="*/ 5626168 h 5626168"/>
              <a:gd name="connsiteX1" fmla="*/ 650450 w 1300899"/>
              <a:gd name="connsiteY1" fmla="*/ 0 h 5626168"/>
              <a:gd name="connsiteX2" fmla="*/ 1300899 w 1300899"/>
              <a:gd name="connsiteY2" fmla="*/ 5626168 h 5626168"/>
              <a:gd name="connsiteX3" fmla="*/ 0 w 1300899"/>
              <a:gd name="connsiteY3" fmla="*/ 5626168 h 5626168"/>
              <a:gd name="connsiteX0" fmla="*/ 0 w 2111603"/>
              <a:gd name="connsiteY0" fmla="*/ 5626168 h 5626168"/>
              <a:gd name="connsiteX1" fmla="*/ 650450 w 2111603"/>
              <a:gd name="connsiteY1" fmla="*/ 0 h 5626168"/>
              <a:gd name="connsiteX2" fmla="*/ 2111603 w 2111603"/>
              <a:gd name="connsiteY2" fmla="*/ 5616744 h 5626168"/>
              <a:gd name="connsiteX3" fmla="*/ 0 w 2111603"/>
              <a:gd name="connsiteY3" fmla="*/ 5626168 h 5626168"/>
              <a:gd name="connsiteX0" fmla="*/ 0 w 2187017"/>
              <a:gd name="connsiteY0" fmla="*/ 5626168 h 5626168"/>
              <a:gd name="connsiteX1" fmla="*/ 650450 w 2187017"/>
              <a:gd name="connsiteY1" fmla="*/ 0 h 5626168"/>
              <a:gd name="connsiteX2" fmla="*/ 2187017 w 2187017"/>
              <a:gd name="connsiteY2" fmla="*/ 5616747 h 5626168"/>
              <a:gd name="connsiteX3" fmla="*/ 0 w 2187017"/>
              <a:gd name="connsiteY3" fmla="*/ 5626168 h 5626168"/>
              <a:gd name="connsiteX0" fmla="*/ 0 w 2997723"/>
              <a:gd name="connsiteY0" fmla="*/ 5626171 h 5626171"/>
              <a:gd name="connsiteX1" fmla="*/ 1461156 w 2997723"/>
              <a:gd name="connsiteY1" fmla="*/ 0 h 5626171"/>
              <a:gd name="connsiteX2" fmla="*/ 2997723 w 2997723"/>
              <a:gd name="connsiteY2" fmla="*/ 5616747 h 5626171"/>
              <a:gd name="connsiteX3" fmla="*/ 0 w 2997723"/>
              <a:gd name="connsiteY3" fmla="*/ 5626171 h 5626171"/>
              <a:gd name="connsiteX0" fmla="*/ 0 w 2950589"/>
              <a:gd name="connsiteY0" fmla="*/ 5626171 h 5626171"/>
              <a:gd name="connsiteX1" fmla="*/ 1461156 w 2950589"/>
              <a:gd name="connsiteY1" fmla="*/ 0 h 5626171"/>
              <a:gd name="connsiteX2" fmla="*/ 2950589 w 2950589"/>
              <a:gd name="connsiteY2" fmla="*/ 5616747 h 5626171"/>
              <a:gd name="connsiteX3" fmla="*/ 0 w 2950589"/>
              <a:gd name="connsiteY3" fmla="*/ 5626171 h 5626171"/>
              <a:gd name="connsiteX0" fmla="*/ 0 w 2903455"/>
              <a:gd name="connsiteY0" fmla="*/ 5626171 h 5626171"/>
              <a:gd name="connsiteX1" fmla="*/ 1414022 w 2903455"/>
              <a:gd name="connsiteY1" fmla="*/ 0 h 5626171"/>
              <a:gd name="connsiteX2" fmla="*/ 2903455 w 2903455"/>
              <a:gd name="connsiteY2" fmla="*/ 5616747 h 5626171"/>
              <a:gd name="connsiteX3" fmla="*/ 0 w 2903455"/>
              <a:gd name="connsiteY3" fmla="*/ 5626171 h 5626171"/>
            </a:gdLst>
            <a:ahLst/>
            <a:cxnLst>
              <a:cxn ang="0">
                <a:pos x="connsiteX0" y="connsiteY0"/>
              </a:cxn>
              <a:cxn ang="0">
                <a:pos x="connsiteX1" y="connsiteY1"/>
              </a:cxn>
              <a:cxn ang="0">
                <a:pos x="connsiteX2" y="connsiteY2"/>
              </a:cxn>
              <a:cxn ang="0">
                <a:pos x="connsiteX3" y="connsiteY3"/>
              </a:cxn>
            </a:cxnLst>
            <a:rect l="l" t="t" r="r" b="b"/>
            <a:pathLst>
              <a:path w="2903455" h="5626171">
                <a:moveTo>
                  <a:pt x="0" y="5626171"/>
                </a:moveTo>
                <a:lnTo>
                  <a:pt x="1414022" y="0"/>
                </a:lnTo>
                <a:lnTo>
                  <a:pt x="2903455" y="5616747"/>
                </a:lnTo>
                <a:lnTo>
                  <a:pt x="0" y="5626171"/>
                </a:lnTo>
                <a:close/>
              </a:path>
            </a:pathLst>
          </a:custGeom>
          <a:pattFill prst="pct20">
            <a:fgClr>
              <a:schemeClr val="accent1"/>
            </a:fgClr>
            <a:bgClr>
              <a:schemeClr val="bg1"/>
            </a:bgClr>
          </a:patt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2" name="Title 1">
            <a:extLst>
              <a:ext uri="{FF2B5EF4-FFF2-40B4-BE49-F238E27FC236}">
                <a16:creationId xmlns:a16="http://schemas.microsoft.com/office/drawing/2014/main" id="{EEB15A6F-D2B2-0105-1C23-EB9D9F7AB4D5}"/>
              </a:ext>
            </a:extLst>
          </p:cNvPr>
          <p:cNvSpPr>
            <a:spLocks noGrp="1"/>
          </p:cNvSpPr>
          <p:nvPr>
            <p:ph type="title"/>
          </p:nvPr>
        </p:nvSpPr>
        <p:spPr/>
        <p:txBody>
          <a:bodyPr vert="horz" lIns="91440" tIns="45720" rIns="91440" bIns="45720" rtlCol="0" anchor="ctr">
            <a:noAutofit/>
          </a:bodyPr>
          <a:lstStyle/>
          <a:p>
            <a:r>
              <a:rPr lang="en-US" sz="3200" dirty="0"/>
              <a:t>This early operating segment will create an employment boom and broad economic output growth in the long-term</a:t>
            </a:r>
          </a:p>
        </p:txBody>
      </p:sp>
      <p:sp>
        <p:nvSpPr>
          <p:cNvPr id="5" name="Slide Number Placeholder 4">
            <a:extLst>
              <a:ext uri="{FF2B5EF4-FFF2-40B4-BE49-F238E27FC236}">
                <a16:creationId xmlns:a16="http://schemas.microsoft.com/office/drawing/2014/main" id="{A7F6DD6D-79D1-2A5E-BCB8-4DBC64412AEA}"/>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845ACB-6A9C-4D80-856D-F33308202576}"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5" name="masterSource">
            <a:extLst>
              <a:ext uri="{FF2B5EF4-FFF2-40B4-BE49-F238E27FC236}">
                <a16:creationId xmlns:a16="http://schemas.microsoft.com/office/drawing/2014/main" id="{FDA604B2-5FE3-019C-6B1C-AEB8F5370D4C}"/>
              </a:ext>
            </a:extLst>
          </p:cNvPr>
          <p:cNvSpPr txBox="1"/>
          <p:nvPr/>
        </p:nvSpPr>
        <p:spPr>
          <a:xfrm>
            <a:off x="371475" y="6345340"/>
            <a:ext cx="0" cy="144000"/>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rPr>
              <a:t>Source: 2023 Economic Impact Analysis Fact Sheet</a:t>
            </a:r>
          </a:p>
        </p:txBody>
      </p:sp>
      <p:sp>
        <p:nvSpPr>
          <p:cNvPr id="3" name="Footer Placeholder 2">
            <a:extLst>
              <a:ext uri="{FF2B5EF4-FFF2-40B4-BE49-F238E27FC236}">
                <a16:creationId xmlns:a16="http://schemas.microsoft.com/office/drawing/2014/main" id="{70122655-26C4-37DF-CFAF-E3D528207A45}"/>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Narrow"/>
                <a:ea typeface="+mn-ea"/>
                <a:cs typeface="+mn-cs"/>
              </a:rPr>
              <a:t>2024 Draft Business Plan Update</a:t>
            </a:r>
          </a:p>
        </p:txBody>
      </p:sp>
      <p:sp>
        <p:nvSpPr>
          <p:cNvPr id="9" name="Text Placeholder 3">
            <a:extLst>
              <a:ext uri="{FF2B5EF4-FFF2-40B4-BE49-F238E27FC236}">
                <a16:creationId xmlns:a16="http://schemas.microsoft.com/office/drawing/2014/main" id="{F6FFA890-DB6D-A323-72B3-A5B7FA6157E8}"/>
              </a:ext>
            </a:extLst>
          </p:cNvPr>
          <p:cNvSpPr txBox="1">
            <a:spLocks/>
          </p:cNvSpPr>
          <p:nvPr/>
        </p:nvSpPr>
        <p:spPr>
          <a:xfrm>
            <a:off x="332733" y="1163967"/>
            <a:ext cx="11332763" cy="382114"/>
          </a:xfrm>
          <a:prstGeom prst="rect">
            <a:avLst/>
          </a:prstGeom>
        </p:spPr>
        <p:txBody>
          <a:bodyPr vert="horz" lIns="91440" tIns="45720" rIns="91440" bIns="45720" rtlCol="0">
            <a:no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1" i="0" u="none" strike="noStrike" kern="1200" cap="none" spc="0" normalizeH="0" baseline="0" noProof="0" dirty="0">
                <a:ln>
                  <a:noFill/>
                </a:ln>
                <a:solidFill>
                  <a:srgbClr val="7F7F7F"/>
                </a:solidFill>
                <a:effectLst/>
                <a:uLnTx/>
                <a:uFillTx/>
                <a:latin typeface="Arial Narrow" pitchFamily="34" charset="0"/>
                <a:ea typeface="+mn-ea"/>
                <a:cs typeface="Arial" pitchFamily="34" charset="0"/>
              </a:rPr>
              <a:t>Investment in High-Speed Rail sparks labor income and generates value from these activities, driving overall economic output throughout the central valley region</a:t>
            </a:r>
            <a:r>
              <a:rPr kumimoji="0" lang="en-US" sz="1800" b="1" i="0" u="none" strike="noStrike" kern="1200" cap="none" spc="0" normalizeH="0" baseline="30000" noProof="0" dirty="0">
                <a:ln>
                  <a:noFill/>
                </a:ln>
                <a:solidFill>
                  <a:srgbClr val="7F7F7F"/>
                </a:solidFill>
                <a:effectLst/>
                <a:uLnTx/>
                <a:uFillTx/>
                <a:latin typeface="Arial Narrow" pitchFamily="34" charset="0"/>
                <a:ea typeface="+mn-ea"/>
                <a:cs typeface="Arial" pitchFamily="34" charset="0"/>
              </a:rPr>
              <a:t>1</a:t>
            </a:r>
          </a:p>
        </p:txBody>
      </p:sp>
      <p:sp>
        <p:nvSpPr>
          <p:cNvPr id="113" name="Oval 112">
            <a:extLst>
              <a:ext uri="{FF2B5EF4-FFF2-40B4-BE49-F238E27FC236}">
                <a16:creationId xmlns:a16="http://schemas.microsoft.com/office/drawing/2014/main" id="{FC7FA6E2-0D05-BA75-3128-F4D0F76526B3}"/>
              </a:ext>
            </a:extLst>
          </p:cNvPr>
          <p:cNvSpPr>
            <a:spLocks noChangeArrowheads="1"/>
          </p:cNvSpPr>
          <p:nvPr/>
        </p:nvSpPr>
        <p:spPr bwMode="gray">
          <a:xfrm>
            <a:off x="2642866" y="2731865"/>
            <a:ext cx="1143000" cy="1143000"/>
          </a:xfrm>
          <a:prstGeom prst="ellipse">
            <a:avLst/>
          </a:prstGeom>
          <a:solidFill>
            <a:schemeClr val="bg1"/>
          </a:solidFill>
          <a:ln w="38100" cap="rnd">
            <a:gradFill flip="none" rotWithShape="1">
              <a:gsLst>
                <a:gs pos="0">
                  <a:schemeClr val="tx1"/>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EFFFF"/>
              </a:solidFill>
              <a:effectLst/>
              <a:uLnTx/>
              <a:uFillTx/>
              <a:latin typeface="DB Sans" panose="020B0502050202020204" pitchFamily="34" charset="0"/>
              <a:ea typeface="+mn-ea"/>
              <a:cs typeface="+mn-cs"/>
            </a:endParaRPr>
          </a:p>
        </p:txBody>
      </p:sp>
      <p:sp>
        <p:nvSpPr>
          <p:cNvPr id="114" name="Oval 5">
            <a:extLst>
              <a:ext uri="{FF2B5EF4-FFF2-40B4-BE49-F238E27FC236}">
                <a16:creationId xmlns:a16="http://schemas.microsoft.com/office/drawing/2014/main" id="{4ABF7E31-24EE-FFF4-C8FB-5898D5236BCD}"/>
              </a:ext>
            </a:extLst>
          </p:cNvPr>
          <p:cNvSpPr>
            <a:spLocks noChangeArrowheads="1"/>
          </p:cNvSpPr>
          <p:nvPr/>
        </p:nvSpPr>
        <p:spPr bwMode="gray">
          <a:xfrm>
            <a:off x="7238999" y="1867609"/>
            <a:ext cx="2862072" cy="2862072"/>
          </a:xfrm>
          <a:prstGeom prst="ellipse">
            <a:avLst/>
          </a:prstGeom>
          <a:solidFill>
            <a:schemeClr val="bg1"/>
          </a:solidFill>
          <a:ln w="38100" cap="rnd">
            <a:gradFill flip="none" rotWithShape="1">
              <a:gsLst>
                <a:gs pos="0">
                  <a:schemeClr val="tx1"/>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EFFFF"/>
              </a:solidFill>
              <a:effectLst/>
              <a:uLnTx/>
              <a:uFillTx/>
              <a:latin typeface="DB Sans" panose="020B0502050202020204" pitchFamily="34" charset="0"/>
              <a:ea typeface="+mn-ea"/>
              <a:cs typeface="+mn-cs"/>
            </a:endParaRPr>
          </a:p>
        </p:txBody>
      </p:sp>
      <p:sp>
        <p:nvSpPr>
          <p:cNvPr id="115" name="Textbox">
            <a:extLst>
              <a:ext uri="{FF2B5EF4-FFF2-40B4-BE49-F238E27FC236}">
                <a16:creationId xmlns:a16="http://schemas.microsoft.com/office/drawing/2014/main" id="{F0BA16C9-D5E4-E7C4-A3D7-E5E708247F88}"/>
              </a:ext>
            </a:extLst>
          </p:cNvPr>
          <p:cNvSpPr txBox="1">
            <a:spLocks/>
          </p:cNvSpPr>
          <p:nvPr>
            <p:custDataLst>
              <p:tags r:id="rId3"/>
            </p:custDataLst>
          </p:nvPr>
        </p:nvSpPr>
        <p:spPr>
          <a:xfrm>
            <a:off x="2756110" y="3112308"/>
            <a:ext cx="916513" cy="382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20000"/>
              </a:spcBef>
              <a:spcAft>
                <a:spcPts val="0"/>
              </a:spcAft>
              <a:buClr>
                <a:srgbClr val="0AAEFA"/>
              </a:buClr>
              <a:buSzTx/>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28B</a:t>
            </a:r>
          </a:p>
        </p:txBody>
      </p:sp>
      <p:sp>
        <p:nvSpPr>
          <p:cNvPr id="116" name="Textbox">
            <a:extLst>
              <a:ext uri="{FF2B5EF4-FFF2-40B4-BE49-F238E27FC236}">
                <a16:creationId xmlns:a16="http://schemas.microsoft.com/office/drawing/2014/main" id="{3A9D6BB6-BD14-7301-03CF-B3A518B917C5}"/>
              </a:ext>
            </a:extLst>
          </p:cNvPr>
          <p:cNvSpPr txBox="1">
            <a:spLocks/>
          </p:cNvSpPr>
          <p:nvPr>
            <p:custDataLst>
              <p:tags r:id="rId4"/>
            </p:custDataLst>
          </p:nvPr>
        </p:nvSpPr>
        <p:spPr>
          <a:xfrm>
            <a:off x="8211779" y="3107588"/>
            <a:ext cx="916513" cy="38211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20000"/>
              </a:spcBef>
              <a:spcAft>
                <a:spcPts val="0"/>
              </a:spcAft>
              <a:buClr>
                <a:srgbClr val="0AAEFA"/>
              </a:buClr>
              <a:buSzTx/>
              <a:buFont typeface="DB Sans" panose="020B0502050202020204" pitchFamily="34" charset="0"/>
              <a:buNone/>
              <a:tabLst/>
              <a:defRPr/>
            </a:pP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70B</a:t>
            </a:r>
          </a:p>
        </p:txBody>
      </p:sp>
      <p:sp>
        <p:nvSpPr>
          <p:cNvPr id="117" name="Textbox">
            <a:extLst>
              <a:ext uri="{FF2B5EF4-FFF2-40B4-BE49-F238E27FC236}">
                <a16:creationId xmlns:a16="http://schemas.microsoft.com/office/drawing/2014/main" id="{9AFFB0C0-181F-EC75-B0C5-2E5AFAD4DE33}"/>
              </a:ext>
            </a:extLst>
          </p:cNvPr>
          <p:cNvSpPr txBox="1">
            <a:spLocks/>
          </p:cNvSpPr>
          <p:nvPr/>
        </p:nvSpPr>
        <p:spPr>
          <a:xfrm>
            <a:off x="1310116" y="5230321"/>
            <a:ext cx="4785883" cy="88138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DB Sans" panose="020B0502050202020204" pitchFamily="34" charset="0"/>
              <a:buNone/>
              <a:tabLst/>
              <a:defRPr/>
            </a:pP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This economic output is fueled by </a:t>
            </a: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28B in labor income </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and roughly </a:t>
            </a: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330,000 job years</a:t>
            </a:r>
          </a:p>
        </p:txBody>
      </p:sp>
      <p:grpSp>
        <p:nvGrpSpPr>
          <p:cNvPr id="118" name="Group 117">
            <a:extLst>
              <a:ext uri="{FF2B5EF4-FFF2-40B4-BE49-F238E27FC236}">
                <a16:creationId xmlns:a16="http://schemas.microsoft.com/office/drawing/2014/main" id="{AA60C3D3-2DCB-50C1-85A3-693C9AFB8994}"/>
              </a:ext>
            </a:extLst>
          </p:cNvPr>
          <p:cNvGrpSpPr/>
          <p:nvPr/>
        </p:nvGrpSpPr>
        <p:grpSpPr>
          <a:xfrm>
            <a:off x="371363" y="5305253"/>
            <a:ext cx="731520" cy="731520"/>
            <a:chOff x="5867645" y="3333284"/>
            <a:chExt cx="731520" cy="731520"/>
          </a:xfrm>
        </p:grpSpPr>
        <p:grpSp>
          <p:nvGrpSpPr>
            <p:cNvPr id="119" name="Group 118" descr="Image of mechanical arm bending to represent state of the art practices ">
              <a:extLst>
                <a:ext uri="{FF2B5EF4-FFF2-40B4-BE49-F238E27FC236}">
                  <a16:creationId xmlns:a16="http://schemas.microsoft.com/office/drawing/2014/main" id="{0B77A1BC-4854-7459-510D-C41DAA301939}"/>
                </a:ext>
              </a:extLst>
            </p:cNvPr>
            <p:cNvGrpSpPr/>
            <p:nvPr/>
          </p:nvGrpSpPr>
          <p:grpSpPr>
            <a:xfrm>
              <a:off x="5867645" y="3333284"/>
              <a:ext cx="731520" cy="731520"/>
              <a:chOff x="641256" y="1337464"/>
              <a:chExt cx="1299786" cy="1299786"/>
            </a:xfrm>
          </p:grpSpPr>
          <p:sp>
            <p:nvSpPr>
              <p:cNvPr id="121" name="Oval 120">
                <a:extLst>
                  <a:ext uri="{FF2B5EF4-FFF2-40B4-BE49-F238E27FC236}">
                    <a16:creationId xmlns:a16="http://schemas.microsoft.com/office/drawing/2014/main" id="{D4297416-7C63-23DE-0DE7-B558CF8B9C9C}"/>
                  </a:ext>
                </a:extLst>
              </p:cNvPr>
              <p:cNvSpPr/>
              <p:nvPr/>
            </p:nvSpPr>
            <p:spPr>
              <a:xfrm>
                <a:off x="641256" y="1337464"/>
                <a:ext cx="1299786" cy="1299786"/>
              </a:xfrm>
              <a:prstGeom prst="ellipse">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122" name="Textplatzhalter 6">
                <a:extLst>
                  <a:ext uri="{FF2B5EF4-FFF2-40B4-BE49-F238E27FC236}">
                    <a16:creationId xmlns:a16="http://schemas.microsoft.com/office/drawing/2014/main" id="{A4DCB6D2-407D-3E0A-B67F-DEFDB2CC6C25}"/>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pic>
          <p:nvPicPr>
            <p:cNvPr id="120" name="Graphic 119" descr="Users with solid fill">
              <a:extLst>
                <a:ext uri="{FF2B5EF4-FFF2-40B4-BE49-F238E27FC236}">
                  <a16:creationId xmlns:a16="http://schemas.microsoft.com/office/drawing/2014/main" id="{A4020FF6-6EFB-647A-17FA-07D535BD7DA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5947506" y="3416411"/>
              <a:ext cx="571795" cy="571795"/>
            </a:xfrm>
            <a:prstGeom prst="rect">
              <a:avLst/>
            </a:prstGeom>
          </p:spPr>
        </p:pic>
      </p:grpSp>
      <p:sp>
        <p:nvSpPr>
          <p:cNvPr id="123" name="Textbox">
            <a:extLst>
              <a:ext uri="{FF2B5EF4-FFF2-40B4-BE49-F238E27FC236}">
                <a16:creationId xmlns:a16="http://schemas.microsoft.com/office/drawing/2014/main" id="{F60EBD69-4798-F962-EC12-5921EAD555D6}"/>
              </a:ext>
            </a:extLst>
          </p:cNvPr>
          <p:cNvSpPr txBox="1">
            <a:spLocks/>
          </p:cNvSpPr>
          <p:nvPr/>
        </p:nvSpPr>
        <p:spPr>
          <a:xfrm>
            <a:off x="7034752" y="5230321"/>
            <a:ext cx="4984423" cy="88138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DB Sans" panose="020B0502050202020204" pitchFamily="34" charset="0"/>
              <a:buNone/>
              <a:tabLst/>
              <a:defRPr/>
            </a:pP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Throughout the project, High-Speed Rail will </a:t>
            </a: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create jobs</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 throughout California </a:t>
            </a:r>
            <a:r>
              <a:rPr kumimoji="0" lang="en-US" sz="2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and raise overall economic activity</a:t>
            </a:r>
            <a:r>
              <a:rPr kumimoji="0" lang="en-US" sz="2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 via indirect and induced spending </a:t>
            </a:r>
          </a:p>
        </p:txBody>
      </p:sp>
      <p:sp>
        <p:nvSpPr>
          <p:cNvPr id="153" name="TextBox 152">
            <a:extLst>
              <a:ext uri="{FF2B5EF4-FFF2-40B4-BE49-F238E27FC236}">
                <a16:creationId xmlns:a16="http://schemas.microsoft.com/office/drawing/2014/main" id="{F8E476FD-8CC9-0395-159C-D0E0C0C478AB}"/>
              </a:ext>
            </a:extLst>
          </p:cNvPr>
          <p:cNvSpPr txBox="1"/>
          <p:nvPr/>
        </p:nvSpPr>
        <p:spPr>
          <a:xfrm>
            <a:off x="6071685" y="4743347"/>
            <a:ext cx="5196701" cy="400110"/>
          </a:xfrm>
          <a:prstGeom prst="rect">
            <a:avLst/>
          </a:prstGeom>
          <a:noFill/>
        </p:spPr>
        <p:txBody>
          <a:bodyPr wrap="square">
            <a:spAutoFit/>
          </a:bodyPr>
          <a:lstStyle/>
          <a:p>
            <a:pPr marL="0" marR="0" lvl="0" indent="0" algn="ctr" defTabSz="457200" rtl="0" eaLnBrk="1" fontAlgn="auto" latinLnBrk="0" hangingPunct="1">
              <a:lnSpc>
                <a:spcPts val="24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3417E"/>
                </a:solidFill>
                <a:effectLst/>
                <a:uLnTx/>
                <a:uFillTx/>
                <a:latin typeface="Arial Narrow"/>
                <a:ea typeface="+mn-ea"/>
                <a:cs typeface="Calibri"/>
              </a:rPr>
              <a:t>Economic Output</a:t>
            </a:r>
            <a:endParaRPr kumimoji="0" lang="en-US" sz="2000" b="1" i="0" u="none" strike="noStrike" kern="1200" cap="none" spc="0" normalizeH="0" baseline="0" noProof="0" dirty="0">
              <a:ln>
                <a:noFill/>
              </a:ln>
              <a:solidFill>
                <a:srgbClr val="23417E"/>
              </a:solidFill>
              <a:effectLst/>
              <a:uLnTx/>
              <a:uFillTx/>
              <a:latin typeface="Arial Narrow"/>
              <a:ea typeface="Cambria" panose="02040503050406030204" pitchFamily="18" charset="0"/>
              <a:cs typeface="Times New Roman" panose="02020603050405020304" pitchFamily="18" charset="0"/>
            </a:endParaRPr>
          </a:p>
        </p:txBody>
      </p:sp>
      <p:sp>
        <p:nvSpPr>
          <p:cNvPr id="154" name="TextBox 153">
            <a:extLst>
              <a:ext uri="{FF2B5EF4-FFF2-40B4-BE49-F238E27FC236}">
                <a16:creationId xmlns:a16="http://schemas.microsoft.com/office/drawing/2014/main" id="{A7697A41-9368-70E3-7982-19509463C967}"/>
              </a:ext>
            </a:extLst>
          </p:cNvPr>
          <p:cNvSpPr txBox="1"/>
          <p:nvPr/>
        </p:nvSpPr>
        <p:spPr>
          <a:xfrm>
            <a:off x="647272" y="4743347"/>
            <a:ext cx="5078614" cy="400110"/>
          </a:xfrm>
          <a:prstGeom prst="rect">
            <a:avLst/>
          </a:prstGeom>
          <a:noFill/>
        </p:spPr>
        <p:txBody>
          <a:bodyPr wrap="square" lIns="0" rIns="0" rtlCol="0">
            <a:spAutoFit/>
          </a:bodyPr>
          <a:lstStyle/>
          <a:p>
            <a:pPr marL="0" marR="0" lvl="0" indent="0" algn="ctr" defTabSz="457200" rtl="0" eaLnBrk="1" fontAlgn="auto" latinLnBrk="0" hangingPunct="1">
              <a:lnSpc>
                <a:spcPts val="24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23417E"/>
                </a:solidFill>
                <a:effectLst/>
                <a:uLnTx/>
                <a:uFillTx/>
                <a:latin typeface="Arial Narrow"/>
                <a:ea typeface="+mn-ea"/>
                <a:cs typeface="Calibri"/>
              </a:rPr>
              <a:t>Labor Income</a:t>
            </a:r>
            <a:endParaRPr kumimoji="0" lang="en-US" sz="2000" b="0" i="0" u="none" strike="noStrike" kern="1200" cap="none" spc="0" normalizeH="0" baseline="0" noProof="0" dirty="0">
              <a:ln>
                <a:noFill/>
              </a:ln>
              <a:solidFill>
                <a:srgbClr val="23417E"/>
              </a:solidFill>
              <a:effectLst/>
              <a:uLnTx/>
              <a:uFillTx/>
              <a:latin typeface="Arial Narrow"/>
              <a:ea typeface="Cambria" panose="02040503050406030204" pitchFamily="18" charset="0"/>
              <a:cs typeface="Times New Roman" panose="02020603050405020304" pitchFamily="18" charset="0"/>
            </a:endParaRPr>
          </a:p>
        </p:txBody>
      </p:sp>
      <p:grpSp>
        <p:nvGrpSpPr>
          <p:cNvPr id="177" name="Group 176">
            <a:extLst>
              <a:ext uri="{FF2B5EF4-FFF2-40B4-BE49-F238E27FC236}">
                <a16:creationId xmlns:a16="http://schemas.microsoft.com/office/drawing/2014/main" id="{B90A552F-2432-D73C-046D-B37695E34FFA}"/>
              </a:ext>
            </a:extLst>
          </p:cNvPr>
          <p:cNvGrpSpPr/>
          <p:nvPr/>
        </p:nvGrpSpPr>
        <p:grpSpPr>
          <a:xfrm>
            <a:off x="6095999" y="5305253"/>
            <a:ext cx="731520" cy="731520"/>
            <a:chOff x="6096245" y="4580400"/>
            <a:chExt cx="731520" cy="731520"/>
          </a:xfrm>
        </p:grpSpPr>
        <p:grpSp>
          <p:nvGrpSpPr>
            <p:cNvPr id="178" name="Group 177" descr="Image of mechanical arm bending to represent state of the art practices ">
              <a:extLst>
                <a:ext uri="{FF2B5EF4-FFF2-40B4-BE49-F238E27FC236}">
                  <a16:creationId xmlns:a16="http://schemas.microsoft.com/office/drawing/2014/main" id="{B4BB195F-B5B4-C07F-FC33-A56D4FCA4ABE}"/>
                </a:ext>
              </a:extLst>
            </p:cNvPr>
            <p:cNvGrpSpPr/>
            <p:nvPr/>
          </p:nvGrpSpPr>
          <p:grpSpPr>
            <a:xfrm>
              <a:off x="6096245" y="4580400"/>
              <a:ext cx="731520" cy="731520"/>
              <a:chOff x="641256" y="1400332"/>
              <a:chExt cx="1299786" cy="1299786"/>
            </a:xfrm>
          </p:grpSpPr>
          <p:sp>
            <p:nvSpPr>
              <p:cNvPr id="182" name="Oval 181">
                <a:extLst>
                  <a:ext uri="{FF2B5EF4-FFF2-40B4-BE49-F238E27FC236}">
                    <a16:creationId xmlns:a16="http://schemas.microsoft.com/office/drawing/2014/main" id="{7BCE81F1-AD4B-B3F3-0758-38F84474544E}"/>
                  </a:ext>
                </a:extLst>
              </p:cNvPr>
              <p:cNvSpPr/>
              <p:nvPr/>
            </p:nvSpPr>
            <p:spPr>
              <a:xfrm>
                <a:off x="641256" y="1400332"/>
                <a:ext cx="1299786" cy="1299786"/>
              </a:xfrm>
              <a:prstGeom prst="ellipse">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8D919B"/>
                  </a:solidFill>
                  <a:effectLst/>
                  <a:uLnTx/>
                  <a:uFillTx/>
                  <a:latin typeface="Arial Narrow" panose="020B0606020202030204" pitchFamily="34" charset="0"/>
                  <a:ea typeface="+mn-ea"/>
                  <a:cs typeface="+mn-cs"/>
                  <a:sym typeface="Arial" panose="020B0604020202020204" pitchFamily="34" charset="0"/>
                </a:endParaRPr>
              </a:p>
            </p:txBody>
          </p:sp>
          <p:sp>
            <p:nvSpPr>
              <p:cNvPr id="183" name="Textplatzhalter 6">
                <a:extLst>
                  <a:ext uri="{FF2B5EF4-FFF2-40B4-BE49-F238E27FC236}">
                    <a16:creationId xmlns:a16="http://schemas.microsoft.com/office/drawing/2014/main" id="{18174AE0-B952-D718-39BB-CAE720C71091}"/>
                  </a:ext>
                </a:extLst>
              </p:cNvPr>
              <p:cNvSpPr txBox="1">
                <a:spLocks/>
              </p:cNvSpPr>
              <p:nvPr/>
            </p:nvSpPr>
            <p:spPr>
              <a:xfrm>
                <a:off x="1034730" y="2429963"/>
                <a:ext cx="512841" cy="51096"/>
              </a:xfrm>
              <a:prstGeom prst="roundRect">
                <a:avLst>
                  <a:gd name="adj" fmla="val 50000"/>
                </a:avLst>
              </a:prstGeom>
              <a:solidFill>
                <a:schemeClr val="accent2"/>
              </a:solidFill>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800" kern="1200">
                    <a:solidFill>
                      <a:schemeClr val="bg1"/>
                    </a:solidFill>
                    <a:latin typeface="+mn-lt"/>
                    <a:ea typeface="+mn-ea"/>
                    <a:cs typeface="+mn-cs"/>
                  </a:defRPr>
                </a:lvl1pPr>
                <a:lvl2pPr marL="271463"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BD31B"/>
                  </a:buClr>
                  <a:buSzTx/>
                  <a:buFont typeface="DB Sans" panose="020B0502050202020204" pitchFamily="34" charset="0"/>
                  <a:buNone/>
                  <a:tabLst/>
                  <a:defRPr/>
                </a:pPr>
                <a:endParaRPr kumimoji="0" lang="en-US" sz="800" b="0" i="0" u="none" strike="noStrike" kern="1200" cap="none" spc="0" normalizeH="0" baseline="0" noProof="0" dirty="0">
                  <a:ln>
                    <a:noFill/>
                  </a:ln>
                  <a:solidFill>
                    <a:srgbClr val="8D919B"/>
                  </a:solidFill>
                  <a:effectLst/>
                  <a:uLnTx/>
                  <a:uFillTx/>
                  <a:latin typeface="Arial Narrow"/>
                  <a:ea typeface="+mn-ea"/>
                  <a:cs typeface="+mn-cs"/>
                </a:endParaRPr>
              </a:p>
            </p:txBody>
          </p:sp>
        </p:grpSp>
        <p:grpSp>
          <p:nvGrpSpPr>
            <p:cNvPr id="179" name="easyIcon">
              <a:extLst>
                <a:ext uri="{FF2B5EF4-FFF2-40B4-BE49-F238E27FC236}">
                  <a16:creationId xmlns:a16="http://schemas.microsoft.com/office/drawing/2014/main" id="{B6CA7A2A-F6C4-58D0-281C-ED090D6EC318}"/>
                </a:ext>
              </a:extLst>
            </p:cNvPr>
            <p:cNvGrpSpPr>
              <a:grpSpLocks noChangeAspect="1"/>
            </p:cNvGrpSpPr>
            <p:nvPr>
              <p:custDataLst>
                <p:tags r:id="rId5"/>
              </p:custDataLst>
            </p:nvPr>
          </p:nvGrpSpPr>
          <p:grpSpPr>
            <a:xfrm>
              <a:off x="6208774" y="4692930"/>
              <a:ext cx="506461" cy="506460"/>
              <a:chOff x="474953" y="1529540"/>
              <a:chExt cx="714052" cy="714051"/>
            </a:xfrm>
          </p:grpSpPr>
          <p:sp>
            <p:nvSpPr>
              <p:cNvPr id="180" name="Background">
                <a:extLst>
                  <a:ext uri="{FF2B5EF4-FFF2-40B4-BE49-F238E27FC236}">
                    <a16:creationId xmlns:a16="http://schemas.microsoft.com/office/drawing/2014/main" id="{1ED7ACEE-67F9-ED67-D820-5F56C01B10EC}"/>
                  </a:ext>
                </a:extLst>
              </p:cNvPr>
              <p:cNvSpPr/>
              <p:nvPr/>
            </p:nvSpPr>
            <p:spPr>
              <a:xfrm>
                <a:off x="474953" y="1529540"/>
                <a:ext cx="714052" cy="71405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181" name="Vector">
                <a:extLst>
                  <a:ext uri="{FF2B5EF4-FFF2-40B4-BE49-F238E27FC236}">
                    <a16:creationId xmlns:a16="http://schemas.microsoft.com/office/drawing/2014/main" id="{3E34209B-23EE-E905-19A6-402368CDA1BD}"/>
                  </a:ext>
                </a:extLst>
              </p:cNvPr>
              <p:cNvSpPr>
                <a:spLocks noChangeAspect="1"/>
              </p:cNvSpPr>
              <p:nvPr/>
            </p:nvSpPr>
            <p:spPr bwMode="gray">
              <a:xfrm>
                <a:off x="615974" y="1598565"/>
                <a:ext cx="432010" cy="576001"/>
              </a:xfrm>
              <a:custGeom>
                <a:avLst/>
                <a:gdLst>
                  <a:gd name="connsiteX0" fmla="*/ 426683 w 524372"/>
                  <a:gd name="connsiteY0" fmla="*/ 609977 h 699148"/>
                  <a:gd name="connsiteX1" fmla="*/ 422393 w 524372"/>
                  <a:gd name="connsiteY1" fmla="*/ 611754 h 699148"/>
                  <a:gd name="connsiteX2" fmla="*/ 262171 w 524372"/>
                  <a:gd name="connsiteY2" fmla="*/ 611754 h 699148"/>
                  <a:gd name="connsiteX3" fmla="*/ 101951 w 524372"/>
                  <a:gd name="connsiteY3" fmla="*/ 611754 h 699148"/>
                  <a:gd name="connsiteX4" fmla="*/ 97682 w 524372"/>
                  <a:gd name="connsiteY4" fmla="*/ 609985 h 699148"/>
                  <a:gd name="connsiteX5" fmla="*/ 71196 w 524372"/>
                  <a:gd name="connsiteY5" fmla="*/ 640885 h 699148"/>
                  <a:gd name="connsiteX6" fmla="*/ 453176 w 524372"/>
                  <a:gd name="connsiteY6" fmla="*/ 640885 h 699148"/>
                  <a:gd name="connsiteX7" fmla="*/ 393262 w 524372"/>
                  <a:gd name="connsiteY7" fmla="*/ 466098 h 699148"/>
                  <a:gd name="connsiteX8" fmla="*/ 378696 w 524372"/>
                  <a:gd name="connsiteY8" fmla="*/ 480664 h 699148"/>
                  <a:gd name="connsiteX9" fmla="*/ 393262 w 524372"/>
                  <a:gd name="connsiteY9" fmla="*/ 495229 h 699148"/>
                  <a:gd name="connsiteX10" fmla="*/ 407827 w 524372"/>
                  <a:gd name="connsiteY10" fmla="*/ 480664 h 699148"/>
                  <a:gd name="connsiteX11" fmla="*/ 393262 w 524372"/>
                  <a:gd name="connsiteY11" fmla="*/ 466098 h 699148"/>
                  <a:gd name="connsiteX12" fmla="*/ 218475 w 524372"/>
                  <a:gd name="connsiteY12" fmla="*/ 466098 h 699148"/>
                  <a:gd name="connsiteX13" fmla="*/ 305868 w 524372"/>
                  <a:gd name="connsiteY13" fmla="*/ 466098 h 699148"/>
                  <a:gd name="connsiteX14" fmla="*/ 320434 w 524372"/>
                  <a:gd name="connsiteY14" fmla="*/ 480664 h 699148"/>
                  <a:gd name="connsiteX15" fmla="*/ 305868 w 524372"/>
                  <a:gd name="connsiteY15" fmla="*/ 495229 h 699148"/>
                  <a:gd name="connsiteX16" fmla="*/ 218475 w 524372"/>
                  <a:gd name="connsiteY16" fmla="*/ 495229 h 699148"/>
                  <a:gd name="connsiteX17" fmla="*/ 203909 w 524372"/>
                  <a:gd name="connsiteY17" fmla="*/ 480664 h 699148"/>
                  <a:gd name="connsiteX18" fmla="*/ 218475 w 524372"/>
                  <a:gd name="connsiteY18" fmla="*/ 466098 h 699148"/>
                  <a:gd name="connsiteX19" fmla="*/ 131082 w 524372"/>
                  <a:gd name="connsiteY19" fmla="*/ 466098 h 699148"/>
                  <a:gd name="connsiteX20" fmla="*/ 116516 w 524372"/>
                  <a:gd name="connsiteY20" fmla="*/ 480664 h 699148"/>
                  <a:gd name="connsiteX21" fmla="*/ 131082 w 524372"/>
                  <a:gd name="connsiteY21" fmla="*/ 495229 h 699148"/>
                  <a:gd name="connsiteX22" fmla="*/ 145647 w 524372"/>
                  <a:gd name="connsiteY22" fmla="*/ 480664 h 699148"/>
                  <a:gd name="connsiteX23" fmla="*/ 131082 w 524372"/>
                  <a:gd name="connsiteY23" fmla="*/ 466098 h 699148"/>
                  <a:gd name="connsiteX24" fmla="*/ 393262 w 524372"/>
                  <a:gd name="connsiteY24" fmla="*/ 436967 h 699148"/>
                  <a:gd name="connsiteX25" fmla="*/ 436959 w 524372"/>
                  <a:gd name="connsiteY25" fmla="*/ 480664 h 699148"/>
                  <a:gd name="connsiteX26" fmla="*/ 393262 w 524372"/>
                  <a:gd name="connsiteY26" fmla="*/ 524361 h 699148"/>
                  <a:gd name="connsiteX27" fmla="*/ 349565 w 524372"/>
                  <a:gd name="connsiteY27" fmla="*/ 480664 h 699148"/>
                  <a:gd name="connsiteX28" fmla="*/ 393262 w 524372"/>
                  <a:gd name="connsiteY28" fmla="*/ 436967 h 699148"/>
                  <a:gd name="connsiteX29" fmla="*/ 131082 w 524372"/>
                  <a:gd name="connsiteY29" fmla="*/ 436967 h 699148"/>
                  <a:gd name="connsiteX30" fmla="*/ 174779 w 524372"/>
                  <a:gd name="connsiteY30" fmla="*/ 480664 h 699148"/>
                  <a:gd name="connsiteX31" fmla="*/ 131082 w 524372"/>
                  <a:gd name="connsiteY31" fmla="*/ 524361 h 699148"/>
                  <a:gd name="connsiteX32" fmla="*/ 87385 w 524372"/>
                  <a:gd name="connsiteY32" fmla="*/ 480664 h 699148"/>
                  <a:gd name="connsiteX33" fmla="*/ 131082 w 524372"/>
                  <a:gd name="connsiteY33" fmla="*/ 436967 h 699148"/>
                  <a:gd name="connsiteX34" fmla="*/ 154707 w 524372"/>
                  <a:gd name="connsiteY34" fmla="*/ 174786 h 699148"/>
                  <a:gd name="connsiteX35" fmla="*/ 140170 w 524372"/>
                  <a:gd name="connsiteY35" fmla="*/ 188449 h 699148"/>
                  <a:gd name="connsiteX36" fmla="*/ 131314 w 524372"/>
                  <a:gd name="connsiteY36" fmla="*/ 331745 h 699148"/>
                  <a:gd name="connsiteX37" fmla="*/ 262171 w 524372"/>
                  <a:gd name="connsiteY37" fmla="*/ 349573 h 699148"/>
                  <a:gd name="connsiteX38" fmla="*/ 393058 w 524372"/>
                  <a:gd name="connsiteY38" fmla="*/ 331745 h 699148"/>
                  <a:gd name="connsiteX39" fmla="*/ 384173 w 524372"/>
                  <a:gd name="connsiteY39" fmla="*/ 188478 h 699148"/>
                  <a:gd name="connsiteX40" fmla="*/ 369636 w 524372"/>
                  <a:gd name="connsiteY40" fmla="*/ 174786 h 699148"/>
                  <a:gd name="connsiteX41" fmla="*/ 154707 w 524372"/>
                  <a:gd name="connsiteY41" fmla="*/ 145655 h 699148"/>
                  <a:gd name="connsiteX42" fmla="*/ 369636 w 524372"/>
                  <a:gd name="connsiteY42" fmla="*/ 145655 h 699148"/>
                  <a:gd name="connsiteX43" fmla="*/ 413246 w 524372"/>
                  <a:gd name="connsiteY43" fmla="*/ 186672 h 699148"/>
                  <a:gd name="connsiteX44" fmla="*/ 422364 w 524372"/>
                  <a:gd name="connsiteY44" fmla="*/ 334134 h 699148"/>
                  <a:gd name="connsiteX45" fmla="*/ 262171 w 524372"/>
                  <a:gd name="connsiteY45" fmla="*/ 378704 h 699148"/>
                  <a:gd name="connsiteX46" fmla="*/ 101950 w 524372"/>
                  <a:gd name="connsiteY46" fmla="*/ 335008 h 699148"/>
                  <a:gd name="connsiteX47" fmla="*/ 111097 w 524372"/>
                  <a:gd name="connsiteY47" fmla="*/ 186672 h 699148"/>
                  <a:gd name="connsiteX48" fmla="*/ 154707 w 524372"/>
                  <a:gd name="connsiteY48" fmla="*/ 145655 h 699148"/>
                  <a:gd name="connsiteX49" fmla="*/ 127323 w 524372"/>
                  <a:gd name="connsiteY49" fmla="*/ 116524 h 699148"/>
                  <a:gd name="connsiteX50" fmla="*/ 83743 w 524372"/>
                  <a:gd name="connsiteY50" fmla="*/ 157308 h 699148"/>
                  <a:gd name="connsiteX51" fmla="*/ 58224 w 524372"/>
                  <a:gd name="connsiteY51" fmla="*/ 539887 h 699148"/>
                  <a:gd name="connsiteX52" fmla="*/ 262171 w 524372"/>
                  <a:gd name="connsiteY52" fmla="*/ 582623 h 699148"/>
                  <a:gd name="connsiteX53" fmla="*/ 466352 w 524372"/>
                  <a:gd name="connsiteY53" fmla="*/ 537324 h 699148"/>
                  <a:gd name="connsiteX54" fmla="*/ 440600 w 524372"/>
                  <a:gd name="connsiteY54" fmla="*/ 157308 h 699148"/>
                  <a:gd name="connsiteX55" fmla="*/ 397020 w 524372"/>
                  <a:gd name="connsiteY55" fmla="*/ 116524 h 699148"/>
                  <a:gd name="connsiteX56" fmla="*/ 262172 w 524372"/>
                  <a:gd name="connsiteY56" fmla="*/ 116524 h 699148"/>
                  <a:gd name="connsiteX57" fmla="*/ 262172 w 524372"/>
                  <a:gd name="connsiteY57" fmla="*/ 29131 h 699148"/>
                  <a:gd name="connsiteX58" fmla="*/ 236461 w 524372"/>
                  <a:gd name="connsiteY58" fmla="*/ 30807 h 699148"/>
                  <a:gd name="connsiteX59" fmla="*/ 262172 w 524372"/>
                  <a:gd name="connsiteY59" fmla="*/ 73643 h 699148"/>
                  <a:gd name="connsiteX60" fmla="*/ 287862 w 524372"/>
                  <a:gd name="connsiteY60" fmla="*/ 30802 h 699148"/>
                  <a:gd name="connsiteX61" fmla="*/ 262172 w 524372"/>
                  <a:gd name="connsiteY61" fmla="*/ 0 h 699148"/>
                  <a:gd name="connsiteX62" fmla="*/ 404070 w 524372"/>
                  <a:gd name="connsiteY62" fmla="*/ 33909 h 699148"/>
                  <a:gd name="connsiteX63" fmla="*/ 403050 w 524372"/>
                  <a:gd name="connsiteY63" fmla="*/ 54504 h 699148"/>
                  <a:gd name="connsiteX64" fmla="*/ 393262 w 524372"/>
                  <a:gd name="connsiteY64" fmla="*/ 58262 h 699148"/>
                  <a:gd name="connsiteX65" fmla="*/ 382455 w 524372"/>
                  <a:gd name="connsiteY65" fmla="*/ 53485 h 699148"/>
                  <a:gd name="connsiteX66" fmla="*/ 320658 w 524372"/>
                  <a:gd name="connsiteY66" fmla="*/ 32936 h 699148"/>
                  <a:gd name="connsiteX67" fmla="*/ 318904 w 524372"/>
                  <a:gd name="connsiteY67" fmla="*/ 32822 h 699148"/>
                  <a:gd name="connsiteX68" fmla="*/ 318336 w 524372"/>
                  <a:gd name="connsiteY68" fmla="*/ 36617 h 699148"/>
                  <a:gd name="connsiteX69" fmla="*/ 287871 w 524372"/>
                  <a:gd name="connsiteY69" fmla="*/ 87393 h 699148"/>
                  <a:gd name="connsiteX70" fmla="*/ 397020 w 524372"/>
                  <a:gd name="connsiteY70" fmla="*/ 87393 h 699148"/>
                  <a:gd name="connsiteX71" fmla="*/ 469702 w 524372"/>
                  <a:gd name="connsiteY71" fmla="*/ 155385 h 699148"/>
                  <a:gd name="connsiteX72" fmla="*/ 495192 w 524372"/>
                  <a:gd name="connsiteY72" fmla="*/ 537965 h 699148"/>
                  <a:gd name="connsiteX73" fmla="*/ 450541 w 524372"/>
                  <a:gd name="connsiteY73" fmla="*/ 580591 h 699148"/>
                  <a:gd name="connsiteX74" fmla="*/ 442334 w 524372"/>
                  <a:gd name="connsiteY74" fmla="*/ 583475 h 699148"/>
                  <a:gd name="connsiteX75" fmla="*/ 520856 w 524372"/>
                  <a:gd name="connsiteY75" fmla="*/ 675086 h 699148"/>
                  <a:gd name="connsiteX76" fmla="*/ 519283 w 524372"/>
                  <a:gd name="connsiteY76" fmla="*/ 695623 h 699148"/>
                  <a:gd name="connsiteX77" fmla="*/ 509787 w 524372"/>
                  <a:gd name="connsiteY77" fmla="*/ 699148 h 699148"/>
                  <a:gd name="connsiteX78" fmla="*/ 498746 w 524372"/>
                  <a:gd name="connsiteY78" fmla="*/ 694050 h 699148"/>
                  <a:gd name="connsiteX79" fmla="*/ 478145 w 524372"/>
                  <a:gd name="connsiteY79" fmla="*/ 670016 h 699148"/>
                  <a:gd name="connsiteX80" fmla="*/ 46226 w 524372"/>
                  <a:gd name="connsiteY80" fmla="*/ 670016 h 699148"/>
                  <a:gd name="connsiteX81" fmla="*/ 25626 w 524372"/>
                  <a:gd name="connsiteY81" fmla="*/ 694050 h 699148"/>
                  <a:gd name="connsiteX82" fmla="*/ 14556 w 524372"/>
                  <a:gd name="connsiteY82" fmla="*/ 699148 h 699148"/>
                  <a:gd name="connsiteX83" fmla="*/ 5089 w 524372"/>
                  <a:gd name="connsiteY83" fmla="*/ 695623 h 699148"/>
                  <a:gd name="connsiteX84" fmla="*/ 3515 w 524372"/>
                  <a:gd name="connsiteY84" fmla="*/ 675086 h 699148"/>
                  <a:gd name="connsiteX85" fmla="*/ 81896 w 524372"/>
                  <a:gd name="connsiteY85" fmla="*/ 583642 h 699148"/>
                  <a:gd name="connsiteX86" fmla="*/ 73795 w 524372"/>
                  <a:gd name="connsiteY86" fmla="*/ 580826 h 699148"/>
                  <a:gd name="connsiteX87" fmla="*/ 29122 w 524372"/>
                  <a:gd name="connsiteY87" fmla="*/ 538926 h 699148"/>
                  <a:gd name="connsiteX88" fmla="*/ 54641 w 524372"/>
                  <a:gd name="connsiteY88" fmla="*/ 155385 h 699148"/>
                  <a:gd name="connsiteX89" fmla="*/ 127323 w 524372"/>
                  <a:gd name="connsiteY89" fmla="*/ 87393 h 699148"/>
                  <a:gd name="connsiteX90" fmla="*/ 236443 w 524372"/>
                  <a:gd name="connsiteY90" fmla="*/ 87393 h 699148"/>
                  <a:gd name="connsiteX91" fmla="*/ 205978 w 524372"/>
                  <a:gd name="connsiteY91" fmla="*/ 36617 h 699148"/>
                  <a:gd name="connsiteX92" fmla="*/ 205416 w 524372"/>
                  <a:gd name="connsiteY92" fmla="*/ 32832 h 699148"/>
                  <a:gd name="connsiteX93" fmla="*/ 203608 w 524372"/>
                  <a:gd name="connsiteY93" fmla="*/ 32949 h 699148"/>
                  <a:gd name="connsiteX94" fmla="*/ 141569 w 524372"/>
                  <a:gd name="connsiteY94" fmla="*/ 53805 h 699148"/>
                  <a:gd name="connsiteX95" fmla="*/ 121148 w 524372"/>
                  <a:gd name="connsiteY95" fmla="*/ 54009 h 699148"/>
                  <a:gd name="connsiteX96" fmla="*/ 120303 w 524372"/>
                  <a:gd name="connsiteY96" fmla="*/ 33909 h 699148"/>
                  <a:gd name="connsiteX97" fmla="*/ 262172 w 524372"/>
                  <a:gd name="connsiteY97" fmla="*/ 0 h 69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524372" h="699148">
                    <a:moveTo>
                      <a:pt x="426683" y="609977"/>
                    </a:moveTo>
                    <a:lnTo>
                      <a:pt x="422393" y="611754"/>
                    </a:lnTo>
                    <a:lnTo>
                      <a:pt x="262171" y="611754"/>
                    </a:lnTo>
                    <a:lnTo>
                      <a:pt x="101951" y="611754"/>
                    </a:lnTo>
                    <a:lnTo>
                      <a:pt x="97682" y="609985"/>
                    </a:lnTo>
                    <a:lnTo>
                      <a:pt x="71196" y="640885"/>
                    </a:lnTo>
                    <a:lnTo>
                      <a:pt x="453176" y="640885"/>
                    </a:lnTo>
                    <a:close/>
                    <a:moveTo>
                      <a:pt x="393262" y="466098"/>
                    </a:moveTo>
                    <a:cubicBezTo>
                      <a:pt x="385222" y="466098"/>
                      <a:pt x="378696" y="472624"/>
                      <a:pt x="378696" y="480664"/>
                    </a:cubicBezTo>
                    <a:cubicBezTo>
                      <a:pt x="378696" y="488704"/>
                      <a:pt x="385222" y="495229"/>
                      <a:pt x="393262" y="495229"/>
                    </a:cubicBezTo>
                    <a:cubicBezTo>
                      <a:pt x="401302" y="495229"/>
                      <a:pt x="407827" y="488704"/>
                      <a:pt x="407827" y="480664"/>
                    </a:cubicBezTo>
                    <a:cubicBezTo>
                      <a:pt x="407827" y="472624"/>
                      <a:pt x="401302" y="466098"/>
                      <a:pt x="393262" y="466098"/>
                    </a:cubicBezTo>
                    <a:close/>
                    <a:moveTo>
                      <a:pt x="218475" y="466098"/>
                    </a:moveTo>
                    <a:lnTo>
                      <a:pt x="305868" y="466098"/>
                    </a:lnTo>
                    <a:cubicBezTo>
                      <a:pt x="313908" y="466098"/>
                      <a:pt x="320434" y="472623"/>
                      <a:pt x="320434" y="480664"/>
                    </a:cubicBezTo>
                    <a:cubicBezTo>
                      <a:pt x="320434" y="488704"/>
                      <a:pt x="313908" y="495229"/>
                      <a:pt x="305868" y="495229"/>
                    </a:cubicBezTo>
                    <a:lnTo>
                      <a:pt x="218475" y="495229"/>
                    </a:lnTo>
                    <a:cubicBezTo>
                      <a:pt x="210434" y="495229"/>
                      <a:pt x="203909" y="488704"/>
                      <a:pt x="203909" y="480664"/>
                    </a:cubicBezTo>
                    <a:cubicBezTo>
                      <a:pt x="203909" y="472623"/>
                      <a:pt x="210434" y="466098"/>
                      <a:pt x="218475" y="466098"/>
                    </a:cubicBezTo>
                    <a:close/>
                    <a:moveTo>
                      <a:pt x="131082" y="466098"/>
                    </a:moveTo>
                    <a:cubicBezTo>
                      <a:pt x="123042" y="466098"/>
                      <a:pt x="116516" y="472624"/>
                      <a:pt x="116516" y="480664"/>
                    </a:cubicBezTo>
                    <a:cubicBezTo>
                      <a:pt x="116516" y="488704"/>
                      <a:pt x="123042" y="495229"/>
                      <a:pt x="131082" y="495229"/>
                    </a:cubicBezTo>
                    <a:cubicBezTo>
                      <a:pt x="139122" y="495229"/>
                      <a:pt x="145647" y="488704"/>
                      <a:pt x="145647" y="480664"/>
                    </a:cubicBezTo>
                    <a:cubicBezTo>
                      <a:pt x="145647" y="472624"/>
                      <a:pt x="139122" y="466098"/>
                      <a:pt x="131082" y="466098"/>
                    </a:cubicBezTo>
                    <a:close/>
                    <a:moveTo>
                      <a:pt x="393262" y="436967"/>
                    </a:moveTo>
                    <a:cubicBezTo>
                      <a:pt x="417353" y="436967"/>
                      <a:pt x="436959" y="456572"/>
                      <a:pt x="436959" y="480664"/>
                    </a:cubicBezTo>
                    <a:cubicBezTo>
                      <a:pt x="436959" y="504755"/>
                      <a:pt x="417353" y="524361"/>
                      <a:pt x="393262" y="524361"/>
                    </a:cubicBezTo>
                    <a:cubicBezTo>
                      <a:pt x="369170" y="524361"/>
                      <a:pt x="349565" y="504755"/>
                      <a:pt x="349565" y="480664"/>
                    </a:cubicBezTo>
                    <a:cubicBezTo>
                      <a:pt x="349565" y="456572"/>
                      <a:pt x="369170" y="436967"/>
                      <a:pt x="393262" y="436967"/>
                    </a:cubicBezTo>
                    <a:close/>
                    <a:moveTo>
                      <a:pt x="131082" y="436967"/>
                    </a:moveTo>
                    <a:cubicBezTo>
                      <a:pt x="155173" y="436967"/>
                      <a:pt x="174779" y="456572"/>
                      <a:pt x="174779" y="480664"/>
                    </a:cubicBezTo>
                    <a:cubicBezTo>
                      <a:pt x="174779" y="504755"/>
                      <a:pt x="155173" y="524361"/>
                      <a:pt x="131082" y="524361"/>
                    </a:cubicBezTo>
                    <a:cubicBezTo>
                      <a:pt x="106990" y="524361"/>
                      <a:pt x="87385" y="504755"/>
                      <a:pt x="87385" y="480664"/>
                    </a:cubicBezTo>
                    <a:cubicBezTo>
                      <a:pt x="87385" y="456572"/>
                      <a:pt x="106990" y="436967"/>
                      <a:pt x="131082" y="436967"/>
                    </a:cubicBezTo>
                    <a:close/>
                    <a:moveTo>
                      <a:pt x="154707" y="174786"/>
                    </a:moveTo>
                    <a:cubicBezTo>
                      <a:pt x="147016" y="174786"/>
                      <a:pt x="140636" y="180787"/>
                      <a:pt x="140170" y="188449"/>
                    </a:cubicBezTo>
                    <a:lnTo>
                      <a:pt x="131314" y="331745"/>
                    </a:lnTo>
                    <a:cubicBezTo>
                      <a:pt x="141889" y="338474"/>
                      <a:pt x="187508" y="349573"/>
                      <a:pt x="262171" y="349573"/>
                    </a:cubicBezTo>
                    <a:cubicBezTo>
                      <a:pt x="336893" y="349573"/>
                      <a:pt x="382512" y="338445"/>
                      <a:pt x="393058" y="331745"/>
                    </a:cubicBezTo>
                    <a:lnTo>
                      <a:pt x="384173" y="188478"/>
                    </a:lnTo>
                    <a:cubicBezTo>
                      <a:pt x="383707" y="180787"/>
                      <a:pt x="377327" y="174786"/>
                      <a:pt x="369636" y="174786"/>
                    </a:cubicBezTo>
                    <a:close/>
                    <a:moveTo>
                      <a:pt x="154707" y="145655"/>
                    </a:moveTo>
                    <a:lnTo>
                      <a:pt x="369636" y="145655"/>
                    </a:lnTo>
                    <a:cubicBezTo>
                      <a:pt x="392679" y="145655"/>
                      <a:pt x="411818" y="163658"/>
                      <a:pt x="413246" y="186672"/>
                    </a:cubicBezTo>
                    <a:lnTo>
                      <a:pt x="422364" y="334134"/>
                    </a:lnTo>
                    <a:cubicBezTo>
                      <a:pt x="422393" y="375558"/>
                      <a:pt x="299751" y="378704"/>
                      <a:pt x="262171" y="378704"/>
                    </a:cubicBezTo>
                    <a:cubicBezTo>
                      <a:pt x="224592" y="378704"/>
                      <a:pt x="101950" y="375558"/>
                      <a:pt x="101950" y="335008"/>
                    </a:cubicBezTo>
                    <a:lnTo>
                      <a:pt x="111097" y="186672"/>
                    </a:lnTo>
                    <a:cubicBezTo>
                      <a:pt x="112525" y="163658"/>
                      <a:pt x="131693" y="145655"/>
                      <a:pt x="154707" y="145655"/>
                    </a:cubicBezTo>
                    <a:close/>
                    <a:moveTo>
                      <a:pt x="127323" y="116524"/>
                    </a:moveTo>
                    <a:cubicBezTo>
                      <a:pt x="104397" y="116524"/>
                      <a:pt x="85258" y="134440"/>
                      <a:pt x="83743" y="157308"/>
                    </a:cubicBezTo>
                    <a:lnTo>
                      <a:pt x="58224" y="539887"/>
                    </a:lnTo>
                    <a:cubicBezTo>
                      <a:pt x="64312" y="550462"/>
                      <a:pt x="143695" y="582623"/>
                      <a:pt x="262171" y="582623"/>
                    </a:cubicBezTo>
                    <a:cubicBezTo>
                      <a:pt x="380648" y="582623"/>
                      <a:pt x="460030" y="550462"/>
                      <a:pt x="466352" y="537324"/>
                    </a:cubicBezTo>
                    <a:lnTo>
                      <a:pt x="440600" y="157308"/>
                    </a:lnTo>
                    <a:cubicBezTo>
                      <a:pt x="439085" y="134440"/>
                      <a:pt x="419946" y="116524"/>
                      <a:pt x="397020" y="116524"/>
                    </a:cubicBezTo>
                    <a:lnTo>
                      <a:pt x="262172" y="116524"/>
                    </a:lnTo>
                    <a:close/>
                    <a:moveTo>
                      <a:pt x="262172" y="29131"/>
                    </a:moveTo>
                    <a:lnTo>
                      <a:pt x="236461" y="30807"/>
                    </a:lnTo>
                    <a:lnTo>
                      <a:pt x="262172" y="73643"/>
                    </a:lnTo>
                    <a:lnTo>
                      <a:pt x="287862" y="30802"/>
                    </a:lnTo>
                    <a:close/>
                    <a:moveTo>
                      <a:pt x="262172" y="0"/>
                    </a:moveTo>
                    <a:cubicBezTo>
                      <a:pt x="370190" y="0"/>
                      <a:pt x="400924" y="30442"/>
                      <a:pt x="404070" y="33909"/>
                    </a:cubicBezTo>
                    <a:cubicBezTo>
                      <a:pt x="409488" y="39881"/>
                      <a:pt x="409022" y="49086"/>
                      <a:pt x="403050" y="54504"/>
                    </a:cubicBezTo>
                    <a:cubicBezTo>
                      <a:pt x="400254" y="57010"/>
                      <a:pt x="396758" y="58262"/>
                      <a:pt x="393262" y="58262"/>
                    </a:cubicBezTo>
                    <a:cubicBezTo>
                      <a:pt x="389300" y="58262"/>
                      <a:pt x="385339" y="56660"/>
                      <a:pt x="382455" y="53485"/>
                    </a:cubicBezTo>
                    <a:cubicBezTo>
                      <a:pt x="382433" y="53485"/>
                      <a:pt x="367712" y="39786"/>
                      <a:pt x="320658" y="32936"/>
                    </a:cubicBezTo>
                    <a:lnTo>
                      <a:pt x="318904" y="32822"/>
                    </a:lnTo>
                    <a:lnTo>
                      <a:pt x="318336" y="36617"/>
                    </a:lnTo>
                    <a:lnTo>
                      <a:pt x="287871" y="87393"/>
                    </a:lnTo>
                    <a:lnTo>
                      <a:pt x="397020" y="87393"/>
                    </a:lnTo>
                    <a:cubicBezTo>
                      <a:pt x="435240" y="87393"/>
                      <a:pt x="467167" y="117252"/>
                      <a:pt x="469702" y="155385"/>
                    </a:cubicBezTo>
                    <a:lnTo>
                      <a:pt x="495192" y="537965"/>
                    </a:lnTo>
                    <a:cubicBezTo>
                      <a:pt x="495203" y="554417"/>
                      <a:pt x="477939" y="568906"/>
                      <a:pt x="450541" y="580591"/>
                    </a:cubicBezTo>
                    <a:lnTo>
                      <a:pt x="442334" y="583475"/>
                    </a:lnTo>
                    <a:lnTo>
                      <a:pt x="520856" y="675086"/>
                    </a:lnTo>
                    <a:cubicBezTo>
                      <a:pt x="526100" y="681174"/>
                      <a:pt x="525401" y="690379"/>
                      <a:pt x="519283" y="695623"/>
                    </a:cubicBezTo>
                    <a:cubicBezTo>
                      <a:pt x="516516" y="697983"/>
                      <a:pt x="513137" y="699148"/>
                      <a:pt x="509787" y="699148"/>
                    </a:cubicBezTo>
                    <a:cubicBezTo>
                      <a:pt x="505679" y="699148"/>
                      <a:pt x="501601" y="697429"/>
                      <a:pt x="498746" y="694050"/>
                    </a:cubicBezTo>
                    <a:lnTo>
                      <a:pt x="478145" y="670016"/>
                    </a:lnTo>
                    <a:lnTo>
                      <a:pt x="46226" y="670016"/>
                    </a:lnTo>
                    <a:lnTo>
                      <a:pt x="25626" y="694050"/>
                    </a:lnTo>
                    <a:cubicBezTo>
                      <a:pt x="22742" y="697429"/>
                      <a:pt x="18664" y="699148"/>
                      <a:pt x="14556" y="699148"/>
                    </a:cubicBezTo>
                    <a:cubicBezTo>
                      <a:pt x="11206" y="699148"/>
                      <a:pt x="7827" y="697983"/>
                      <a:pt x="5089" y="695623"/>
                    </a:cubicBezTo>
                    <a:cubicBezTo>
                      <a:pt x="-1029" y="690379"/>
                      <a:pt x="-1728" y="681203"/>
                      <a:pt x="3515" y="675086"/>
                    </a:cubicBezTo>
                    <a:lnTo>
                      <a:pt x="81896" y="583642"/>
                    </a:lnTo>
                    <a:lnTo>
                      <a:pt x="73795" y="580826"/>
                    </a:lnTo>
                    <a:cubicBezTo>
                      <a:pt x="46393" y="569281"/>
                      <a:pt x="29122" y="555017"/>
                      <a:pt x="29122" y="538926"/>
                    </a:cubicBezTo>
                    <a:lnTo>
                      <a:pt x="54641" y="155385"/>
                    </a:lnTo>
                    <a:cubicBezTo>
                      <a:pt x="57175" y="117252"/>
                      <a:pt x="89103" y="87393"/>
                      <a:pt x="127323" y="87393"/>
                    </a:cubicBezTo>
                    <a:lnTo>
                      <a:pt x="236443" y="87393"/>
                    </a:lnTo>
                    <a:lnTo>
                      <a:pt x="205978" y="36617"/>
                    </a:lnTo>
                    <a:lnTo>
                      <a:pt x="205416" y="32832"/>
                    </a:lnTo>
                    <a:lnTo>
                      <a:pt x="203608" y="32949"/>
                    </a:lnTo>
                    <a:cubicBezTo>
                      <a:pt x="156497" y="39828"/>
                      <a:pt x="141766" y="53608"/>
                      <a:pt x="141569" y="53805"/>
                    </a:cubicBezTo>
                    <a:cubicBezTo>
                      <a:pt x="135976" y="59311"/>
                      <a:pt x="126799" y="59486"/>
                      <a:pt x="121148" y="54009"/>
                    </a:cubicBezTo>
                    <a:cubicBezTo>
                      <a:pt x="115467" y="48533"/>
                      <a:pt x="115030" y="39735"/>
                      <a:pt x="120303" y="33909"/>
                    </a:cubicBezTo>
                    <a:cubicBezTo>
                      <a:pt x="123420" y="30442"/>
                      <a:pt x="154154" y="0"/>
                      <a:pt x="262172" y="0"/>
                    </a:cubicBezTo>
                    <a:close/>
                  </a:path>
                </a:pathLst>
              </a:custGeom>
              <a:solidFill>
                <a:srgbClr val="23417E"/>
              </a:solidFill>
              <a:ln w="28972"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sp>
        <p:nvSpPr>
          <p:cNvPr id="189" name="masterFootnote">
            <a:extLst>
              <a:ext uri="{FF2B5EF4-FFF2-40B4-BE49-F238E27FC236}">
                <a16:creationId xmlns:a16="http://schemas.microsoft.com/office/drawing/2014/main" id="{5CA9DE8B-C38B-E91D-B952-22963F832607}"/>
              </a:ext>
            </a:extLst>
          </p:cNvPr>
          <p:cNvSpPr txBox="1"/>
          <p:nvPr/>
        </p:nvSpPr>
        <p:spPr>
          <a:xfrm>
            <a:off x="371475" y="6181563"/>
            <a:ext cx="0" cy="144000"/>
          </a:xfrm>
          <a:prstGeom prst="rect">
            <a:avLst/>
          </a:prstGeom>
        </p:spPr>
        <p:txBody>
          <a:bodyPr vert="horz" wrap="none" lIns="0" tIns="0" rIns="0" bIns="0" rtlCol="0" anchor="b" anchorCtr="0">
            <a:noAutofit/>
          </a:bodyPr>
          <a:lstStyle>
            <a:defPPr>
              <a:defRPr lang="en-US"/>
            </a:defPPr>
            <a:lvl1pPr>
              <a:defRPr sz="1000">
                <a:solidFill>
                  <a:srgbClr val="878C96"/>
                </a:solidFill>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rPr>
              <a:t>(1)  Economic Impact of Total Project ($), CVS Segment – This estimate focuses on the entire CVS, including construction; it</a:t>
            </a:r>
            <a:r>
              <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rPr>
              <a:t> excludes additional economic output from increases in efficiency during operations i.e., travel time savings</a:t>
            </a:r>
            <a:endParaRPr kumimoji="0" lang="en-US" sz="1000" b="0" i="0" u="none" strike="noStrike" kern="1200" cap="none" spc="0" normalizeH="0" baseline="0" noProof="0" dirty="0">
              <a:ln>
                <a:noFill/>
              </a:ln>
              <a:solidFill>
                <a:srgbClr val="878C96"/>
              </a:solidFill>
              <a:effectLst/>
              <a:uLnTx/>
              <a:uFillTx/>
              <a:latin typeface="Arial Narrow"/>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92692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4B3368-8529-4D18-4E6E-150001BE38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0" imgW="484" imgH="486" progId="TCLayout.ActiveDocument.1">
                  <p:embed/>
                </p:oleObj>
              </mc:Choice>
              <mc:Fallback>
                <p:oleObj name="think-cell Slide" r:id="rId10" imgW="484" imgH="486" progId="TCLayout.ActiveDocument.1">
                  <p:embed/>
                  <p:pic>
                    <p:nvPicPr>
                      <p:cNvPr id="7" name="think-cell data - do not delete" hidden="1">
                        <a:extLst>
                          <a:ext uri="{FF2B5EF4-FFF2-40B4-BE49-F238E27FC236}">
                            <a16:creationId xmlns:a16="http://schemas.microsoft.com/office/drawing/2014/main" id="{464B3368-8529-4D18-4E6E-150001BE387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1000C7-8439-FB63-B6F5-0B3B9A7EF3DA}"/>
              </a:ext>
            </a:extLst>
          </p:cNvPr>
          <p:cNvSpPr>
            <a:spLocks noGrp="1"/>
          </p:cNvSpPr>
          <p:nvPr>
            <p:ph type="title"/>
          </p:nvPr>
        </p:nvSpPr>
        <p:spPr>
          <a:xfrm>
            <a:off x="342900" y="119207"/>
            <a:ext cx="11468101" cy="815975"/>
          </a:xfrm>
        </p:spPr>
        <p:txBody>
          <a:bodyPr vert="horz">
            <a:noAutofit/>
          </a:bodyPr>
          <a:lstStyle/>
          <a:p>
            <a:r>
              <a:rPr lang="en-US" sz="3200" dirty="0"/>
              <a:t>In operation, High-Speed Rail will create jobs and continue to drive economic growth in California: direct, indirect and induced effects</a:t>
            </a:r>
          </a:p>
        </p:txBody>
      </p:sp>
      <p:sp>
        <p:nvSpPr>
          <p:cNvPr id="4" name="Footer Placeholder 3">
            <a:extLst>
              <a:ext uri="{FF2B5EF4-FFF2-40B4-BE49-F238E27FC236}">
                <a16:creationId xmlns:a16="http://schemas.microsoft.com/office/drawing/2014/main" id="{9063C69F-E1BB-195B-9D0C-691E7A5C4F60}"/>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Narrow"/>
                <a:ea typeface="+mn-ea"/>
                <a:cs typeface="+mn-cs"/>
              </a:rPr>
              <a:t>2024 Draft Business Plan Update</a:t>
            </a:r>
          </a:p>
        </p:txBody>
      </p:sp>
      <p:sp>
        <p:nvSpPr>
          <p:cNvPr id="5" name="Slide Number Placeholder 4">
            <a:extLst>
              <a:ext uri="{FF2B5EF4-FFF2-40B4-BE49-F238E27FC236}">
                <a16:creationId xmlns:a16="http://schemas.microsoft.com/office/drawing/2014/main" id="{A8B5E763-1149-E63B-38B6-3A87EDF6C041}"/>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F845ACB-6A9C-4D80-856D-F33308202576}"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13" name="Text Placeholder 3">
            <a:extLst>
              <a:ext uri="{FF2B5EF4-FFF2-40B4-BE49-F238E27FC236}">
                <a16:creationId xmlns:a16="http://schemas.microsoft.com/office/drawing/2014/main" id="{23E36151-6276-8F4B-9562-44750AFE41B0}"/>
              </a:ext>
            </a:extLst>
          </p:cNvPr>
          <p:cNvSpPr txBox="1">
            <a:spLocks/>
          </p:cNvSpPr>
          <p:nvPr/>
        </p:nvSpPr>
        <p:spPr>
          <a:xfrm>
            <a:off x="342900" y="1085347"/>
            <a:ext cx="5431345" cy="365760"/>
          </a:xfrm>
          <a:prstGeom prst="rect">
            <a:avLst/>
          </a:prstGeom>
        </p:spPr>
        <p:txBody>
          <a:bodyPr vert="horz" lIns="91440" tIns="45720" rIns="91440" bIns="45720" rtlCol="0">
            <a:no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Narrow"/>
                <a:ea typeface="+mn-ea"/>
                <a:cs typeface="Arial" pitchFamily="34" charset="0"/>
              </a:rPr>
              <a:t>High-Speed Rail impacts the economy via three channels:</a:t>
            </a:r>
          </a:p>
        </p:txBody>
      </p:sp>
      <p:sp>
        <p:nvSpPr>
          <p:cNvPr id="14" name="Text Placeholder 3">
            <a:extLst>
              <a:ext uri="{FF2B5EF4-FFF2-40B4-BE49-F238E27FC236}">
                <a16:creationId xmlns:a16="http://schemas.microsoft.com/office/drawing/2014/main" id="{34B47240-BC4C-F718-99F0-C16922E0DCD2}"/>
              </a:ext>
            </a:extLst>
          </p:cNvPr>
          <p:cNvSpPr txBox="1">
            <a:spLocks/>
          </p:cNvSpPr>
          <p:nvPr/>
        </p:nvSpPr>
        <p:spPr>
          <a:xfrm>
            <a:off x="6676252" y="1085347"/>
            <a:ext cx="5277961" cy="365760"/>
          </a:xfrm>
          <a:prstGeom prst="rect">
            <a:avLst/>
          </a:prstGeom>
        </p:spPr>
        <p:txBody>
          <a:bodyPr vert="horz" lIns="91440" tIns="45720" rIns="91440" bIns="45720" rtlCol="0">
            <a:norm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Narrow"/>
                <a:ea typeface="+mn-ea"/>
                <a:cs typeface="Arial" pitchFamily="34" charset="0"/>
              </a:rPr>
              <a:t>High-Speed Rail increases jobs, income and output:</a:t>
            </a:r>
          </a:p>
        </p:txBody>
      </p:sp>
      <p:sp>
        <p:nvSpPr>
          <p:cNvPr id="15" name="masterSource">
            <a:extLst>
              <a:ext uri="{FF2B5EF4-FFF2-40B4-BE49-F238E27FC236}">
                <a16:creationId xmlns:a16="http://schemas.microsoft.com/office/drawing/2014/main" id="{C6E82470-ADF5-112B-3D46-8D487D2C37F2}"/>
              </a:ext>
            </a:extLst>
          </p:cNvPr>
          <p:cNvSpPr txBox="1"/>
          <p:nvPr/>
        </p:nvSpPr>
        <p:spPr>
          <a:xfrm>
            <a:off x="371363" y="6332640"/>
            <a:ext cx="0" cy="144016"/>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F7F7F"/>
                </a:solidFill>
                <a:effectLst/>
                <a:uLnTx/>
                <a:uFillTx/>
                <a:latin typeface="Arial Narrow"/>
                <a:ea typeface="+mn-ea"/>
                <a:cs typeface="+mn-cs"/>
              </a:rPr>
              <a:t>Source: CHSR 2023 Service Development Plan, 2023 Sustainability Report, 2023 Economic Impact Report, &amp; APTA</a:t>
            </a:r>
          </a:p>
        </p:txBody>
      </p:sp>
      <p:grpSp>
        <p:nvGrpSpPr>
          <p:cNvPr id="71" name="Gruppieren 1">
            <a:extLst>
              <a:ext uri="{FF2B5EF4-FFF2-40B4-BE49-F238E27FC236}">
                <a16:creationId xmlns:a16="http://schemas.microsoft.com/office/drawing/2014/main" id="{1C477253-CFAA-CC53-A27C-190A45C6891F}"/>
              </a:ext>
            </a:extLst>
          </p:cNvPr>
          <p:cNvGrpSpPr/>
          <p:nvPr/>
        </p:nvGrpSpPr>
        <p:grpSpPr>
          <a:xfrm>
            <a:off x="5963089" y="1628454"/>
            <a:ext cx="402297" cy="4321175"/>
            <a:chOff x="5792188" y="1808162"/>
            <a:chExt cx="402297" cy="4321175"/>
          </a:xfrm>
        </p:grpSpPr>
        <p:pic>
          <p:nvPicPr>
            <p:cNvPr id="72" name="Grafik 29">
              <a:extLst>
                <a:ext uri="{FF2B5EF4-FFF2-40B4-BE49-F238E27FC236}">
                  <a16:creationId xmlns:a16="http://schemas.microsoft.com/office/drawing/2014/main" id="{1EC180E8-3D00-AAD2-9EE5-90B37B15B0C9}"/>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5792188" y="3572688"/>
              <a:ext cx="402297" cy="792087"/>
            </a:xfrm>
            <a:prstGeom prst="rect">
              <a:avLst/>
            </a:prstGeom>
          </p:spPr>
        </p:pic>
        <p:cxnSp>
          <p:nvCxnSpPr>
            <p:cNvPr id="74" name="Gerader Verbinder 113">
              <a:extLst>
                <a:ext uri="{FF2B5EF4-FFF2-40B4-BE49-F238E27FC236}">
                  <a16:creationId xmlns:a16="http://schemas.microsoft.com/office/drawing/2014/main" id="{23B865FB-A1ED-3423-0D85-144B54380D1F}"/>
                </a:ext>
              </a:extLst>
            </p:cNvPr>
            <p:cNvCxnSpPr>
              <a:cxnSpLocks/>
              <a:endCxn id="72" idx="0"/>
            </p:cNvCxnSpPr>
            <p:nvPr/>
          </p:nvCxnSpPr>
          <p:spPr>
            <a:xfrm>
              <a:off x="5993336" y="1808162"/>
              <a:ext cx="1" cy="17645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Gerader Verbinder 115">
              <a:extLst>
                <a:ext uri="{FF2B5EF4-FFF2-40B4-BE49-F238E27FC236}">
                  <a16:creationId xmlns:a16="http://schemas.microsoft.com/office/drawing/2014/main" id="{7C39C217-1290-87F0-048E-4EECF0E11D17}"/>
                </a:ext>
              </a:extLst>
            </p:cNvPr>
            <p:cNvCxnSpPr>
              <a:cxnSpLocks/>
              <a:stCxn id="72" idx="2"/>
            </p:cNvCxnSpPr>
            <p:nvPr/>
          </p:nvCxnSpPr>
          <p:spPr>
            <a:xfrm>
              <a:off x="5993337" y="4364775"/>
              <a:ext cx="0" cy="176456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29" name="Text Placeholder 3">
            <a:extLst>
              <a:ext uri="{FF2B5EF4-FFF2-40B4-BE49-F238E27FC236}">
                <a16:creationId xmlns:a16="http://schemas.microsoft.com/office/drawing/2014/main" id="{767ABCBE-6CCF-7389-38B6-3E6A9EB58FB3}"/>
              </a:ext>
            </a:extLst>
          </p:cNvPr>
          <p:cNvSpPr txBox="1">
            <a:spLocks/>
          </p:cNvSpPr>
          <p:nvPr/>
        </p:nvSpPr>
        <p:spPr>
          <a:xfrm>
            <a:off x="6676252" y="1636838"/>
            <a:ext cx="5277961" cy="365760"/>
          </a:xfrm>
          <a:prstGeom prst="rect">
            <a:avLst/>
          </a:prstGeom>
        </p:spPr>
        <p:txBody>
          <a:bodyPr vert="horz" lIns="91440" tIns="45720" rIns="91440" bIns="45720" rtlCol="0">
            <a:no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600" b="1" i="0" u="none" strike="noStrike" kern="1200" cap="none" spc="0" normalizeH="0" baseline="0" noProof="0" dirty="0">
                <a:ln>
                  <a:noFill/>
                </a:ln>
                <a:solidFill>
                  <a:srgbClr val="FFFFFF">
                    <a:lumMod val="50000"/>
                  </a:srgbClr>
                </a:solidFill>
                <a:effectLst/>
                <a:uLnTx/>
                <a:uFillTx/>
                <a:latin typeface="Arial Narrow"/>
                <a:ea typeface="+mn-ea"/>
                <a:cs typeface="Arial" pitchFamily="34" charset="0"/>
              </a:rPr>
              <a:t>Estimated annual economic impact from staffing High-Speed Rail facilities</a:t>
            </a:r>
            <a:endParaRPr kumimoji="0" lang="en-US" sz="1600" b="1" i="0" u="none" strike="noStrike" kern="1200" cap="none" spc="0" normalizeH="0" baseline="30000" noProof="0" dirty="0">
              <a:ln>
                <a:noFill/>
              </a:ln>
              <a:solidFill>
                <a:srgbClr val="FFFFFF">
                  <a:lumMod val="50000"/>
                </a:srgbClr>
              </a:solidFill>
              <a:effectLst/>
              <a:uLnTx/>
              <a:uFillTx/>
              <a:latin typeface="Arial Narrow"/>
              <a:ea typeface="+mn-ea"/>
              <a:cs typeface="Arial" pitchFamily="34" charset="0"/>
            </a:endParaRPr>
          </a:p>
        </p:txBody>
      </p:sp>
      <p:grpSp>
        <p:nvGrpSpPr>
          <p:cNvPr id="100" name="Group 99">
            <a:extLst>
              <a:ext uri="{FF2B5EF4-FFF2-40B4-BE49-F238E27FC236}">
                <a16:creationId xmlns:a16="http://schemas.microsoft.com/office/drawing/2014/main" id="{7D29058A-CAF4-AD00-308D-0D4A184B9FFF}"/>
              </a:ext>
            </a:extLst>
          </p:cNvPr>
          <p:cNvGrpSpPr/>
          <p:nvPr/>
        </p:nvGrpSpPr>
        <p:grpSpPr>
          <a:xfrm>
            <a:off x="6676251" y="2290583"/>
            <a:ext cx="3291840" cy="1099836"/>
            <a:chOff x="8503572" y="4728405"/>
            <a:chExt cx="3291840" cy="1099836"/>
          </a:xfrm>
        </p:grpSpPr>
        <p:pic>
          <p:nvPicPr>
            <p:cNvPr id="40" name="Picture 39">
              <a:extLst>
                <a:ext uri="{FF2B5EF4-FFF2-40B4-BE49-F238E27FC236}">
                  <a16:creationId xmlns:a16="http://schemas.microsoft.com/office/drawing/2014/main" id="{0B6492E2-E426-B33A-291A-E1DEEA20F198}"/>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l="4937" r="11522"/>
            <a:stretch/>
          </p:blipFill>
          <p:spPr>
            <a:xfrm>
              <a:off x="8503572" y="4763397"/>
              <a:ext cx="1500717" cy="1010017"/>
            </a:xfrm>
            <a:prstGeom prst="rect">
              <a:avLst/>
            </a:prstGeom>
          </p:spPr>
        </p:pic>
        <p:sp>
          <p:nvSpPr>
            <p:cNvPr id="28" name="masterTextbox1">
              <a:extLst>
                <a:ext uri="{FF2B5EF4-FFF2-40B4-BE49-F238E27FC236}">
                  <a16:creationId xmlns:a16="http://schemas.microsoft.com/office/drawing/2014/main" id="{CA4581D1-D3BE-9A9E-C7E0-F16542ABF23C}"/>
                </a:ext>
              </a:extLst>
            </p:cNvPr>
            <p:cNvSpPr txBox="1">
              <a:spLocks/>
            </p:cNvSpPr>
            <p:nvPr>
              <p:custDataLst>
                <p:tags r:id="rId8"/>
              </p:custDataLst>
            </p:nvPr>
          </p:nvSpPr>
          <p:spPr>
            <a:xfrm>
              <a:off x="9966612" y="4728405"/>
              <a:ext cx="1828800" cy="1080000"/>
            </a:xfrm>
            <a:prstGeom prst="rect">
              <a:avLst/>
            </a:prstGeom>
            <a:solidFill>
              <a:srgbClr val="FFFFFF"/>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tx1"/>
                </a:buClr>
                <a:buFontTx/>
                <a:buNone/>
                <a:defRPr sz="1600" kern="1200">
                  <a:solidFill>
                    <a:schemeClr val="tx1"/>
                  </a:solidFill>
                  <a:latin typeface="+mn-lt"/>
                  <a:ea typeface="+mn-ea"/>
                  <a:cs typeface="+mn-cs"/>
                </a:defRPr>
              </a:lvl1pPr>
              <a:lvl2pPr marL="1836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2pPr>
              <a:lvl3pPr marL="3600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4pPr>
              <a:lvl5pPr marL="7164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srgbClr val="FBD31B"/>
                </a:buClr>
                <a:buSzPct val="100000"/>
                <a:buFont typeface="Arial" panose="020B0604020202020204" pitchFamily="34" charset="0"/>
                <a:buNone/>
                <a:tabLst/>
                <a:defRPr/>
              </a:pPr>
              <a:r>
                <a:rPr kumimoji="0" lang="en-US" sz="4800" b="1" i="0" u="none" strike="noStrike" kern="1200" cap="none" spc="0" normalizeH="0" baseline="0" noProof="0" dirty="0">
                  <a:ln>
                    <a:noFill/>
                  </a:ln>
                  <a:solidFill>
                    <a:srgbClr val="334886"/>
                  </a:solidFill>
                  <a:effectLst/>
                  <a:uLnTx/>
                  <a:uFillTx/>
                  <a:latin typeface="Arial Narrow"/>
                  <a:ea typeface="+mn-ea"/>
                  <a:cs typeface="+mn-cs"/>
                </a:rPr>
                <a:t>390</a:t>
              </a:r>
            </a:p>
            <a:p>
              <a:pPr marL="0" marR="0" lvl="1" indent="0" algn="ctr" defTabSz="914400" rtl="0" eaLnBrk="1" fontAlgn="auto" latinLnBrk="0" hangingPunct="1">
                <a:lnSpc>
                  <a:spcPct val="100000"/>
                </a:lnSpc>
                <a:spcBef>
                  <a:spcPts val="0"/>
                </a:spcBef>
                <a:spcAft>
                  <a:spcPts val="0"/>
                </a:spcAft>
                <a:buClr>
                  <a:srgbClr val="FBD31B"/>
                </a:buClr>
                <a:buSzPct val="100000"/>
                <a:buFont typeface="Arial" panose="020B0604020202020204" pitchFamily="34" charset="0"/>
                <a:buNone/>
                <a:tabLst/>
                <a:defRPr/>
              </a:pPr>
              <a:r>
                <a:rPr kumimoji="0" lang="en-US" sz="1600" b="0" i="0" u="none" strike="noStrike" kern="1200" cap="none" spc="0" normalizeH="0" baseline="0" noProof="0" dirty="0">
                  <a:ln>
                    <a:noFill/>
                  </a:ln>
                  <a:solidFill>
                    <a:srgbClr val="334886"/>
                  </a:solidFill>
                  <a:effectLst/>
                  <a:uLnTx/>
                  <a:uFillTx/>
                  <a:latin typeface="Arial Narrow"/>
                  <a:ea typeface="+mn-ea"/>
                  <a:cs typeface="+mn-cs"/>
                </a:rPr>
                <a:t>Full Time Employees</a:t>
              </a:r>
            </a:p>
          </p:txBody>
        </p:sp>
        <p:cxnSp>
          <p:nvCxnSpPr>
            <p:cNvPr id="95" name="Straight Connector 94">
              <a:extLst>
                <a:ext uri="{FF2B5EF4-FFF2-40B4-BE49-F238E27FC236}">
                  <a16:creationId xmlns:a16="http://schemas.microsoft.com/office/drawing/2014/main" id="{9DED6C46-3DF6-CB52-3399-7A56BFFF3FF7}"/>
                </a:ext>
              </a:extLst>
            </p:cNvPr>
            <p:cNvCxnSpPr>
              <a:cxnSpLocks/>
            </p:cNvCxnSpPr>
            <p:nvPr/>
          </p:nvCxnSpPr>
          <p:spPr>
            <a:xfrm>
              <a:off x="8503572" y="5828241"/>
              <a:ext cx="3291840" cy="0"/>
            </a:xfrm>
            <a:prstGeom prst="line">
              <a:avLst/>
            </a:prstGeom>
            <a:ln w="38100" cmpd="sng">
              <a:solidFill>
                <a:srgbClr val="23417E"/>
              </a:solidFill>
              <a:prstDash val="solid"/>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37D1B251-2D75-1761-D288-DAB0F973B29E}"/>
              </a:ext>
            </a:extLst>
          </p:cNvPr>
          <p:cNvGrpSpPr/>
          <p:nvPr/>
        </p:nvGrpSpPr>
        <p:grpSpPr>
          <a:xfrm>
            <a:off x="8503572" y="4951488"/>
            <a:ext cx="3291840" cy="1097496"/>
            <a:chOff x="7568429" y="3492372"/>
            <a:chExt cx="3291840" cy="1097496"/>
          </a:xfrm>
        </p:grpSpPr>
        <p:sp>
          <p:nvSpPr>
            <p:cNvPr id="29" name="masterTextbox1">
              <a:extLst>
                <a:ext uri="{FF2B5EF4-FFF2-40B4-BE49-F238E27FC236}">
                  <a16:creationId xmlns:a16="http://schemas.microsoft.com/office/drawing/2014/main" id="{AEFD79B7-5776-52A7-7F57-0F40CE1981E6}"/>
                </a:ext>
              </a:extLst>
            </p:cNvPr>
            <p:cNvSpPr txBox="1">
              <a:spLocks/>
            </p:cNvSpPr>
            <p:nvPr>
              <p:custDataLst>
                <p:tags r:id="rId7"/>
              </p:custDataLst>
            </p:nvPr>
          </p:nvSpPr>
          <p:spPr>
            <a:xfrm>
              <a:off x="9101545" y="3492372"/>
              <a:ext cx="1758723" cy="1080000"/>
            </a:xfrm>
            <a:prstGeom prst="rect">
              <a:avLst/>
            </a:prstGeom>
            <a:solidFill>
              <a:srgbClr val="FFFFFF"/>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tx1"/>
                </a:buClr>
                <a:buFontTx/>
                <a:buNone/>
                <a:defRPr sz="1600" kern="1200">
                  <a:solidFill>
                    <a:schemeClr val="tx1"/>
                  </a:solidFill>
                  <a:latin typeface="+mn-lt"/>
                  <a:ea typeface="+mn-ea"/>
                  <a:cs typeface="+mn-cs"/>
                </a:defRPr>
              </a:lvl1pPr>
              <a:lvl2pPr marL="1836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2pPr>
              <a:lvl3pPr marL="3600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4pPr>
              <a:lvl5pPr marL="7164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srgbClr val="FBD31B"/>
                </a:buClr>
                <a:buSzPct val="100000"/>
                <a:buFont typeface="Arial" panose="020B0604020202020204" pitchFamily="34" charset="0"/>
                <a:buNone/>
                <a:tabLst/>
                <a:defRPr/>
              </a:pPr>
              <a:r>
                <a:rPr kumimoji="0" lang="en-US" sz="1600" b="0" i="0" u="none" strike="noStrike" kern="1200" cap="none" spc="0" normalizeH="0" baseline="0" noProof="0" dirty="0">
                  <a:ln>
                    <a:noFill/>
                  </a:ln>
                  <a:solidFill>
                    <a:srgbClr val="334886"/>
                  </a:solidFill>
                  <a:effectLst/>
                  <a:uLnTx/>
                  <a:uFillTx/>
                  <a:latin typeface="Arial Narrow"/>
                  <a:ea typeface="+mn-ea"/>
                  <a:cs typeface="+mn-cs"/>
                </a:rPr>
                <a:t>Every </a:t>
              </a:r>
              <a:r>
                <a:rPr kumimoji="0" lang="en-US" sz="2000" b="1" i="0" u="none" strike="noStrike" kern="1200" cap="none" spc="0" normalizeH="0" baseline="0" noProof="0" dirty="0">
                  <a:ln>
                    <a:noFill/>
                  </a:ln>
                  <a:solidFill>
                    <a:srgbClr val="334886"/>
                  </a:solidFill>
                  <a:effectLst/>
                  <a:uLnTx/>
                  <a:uFillTx/>
                  <a:latin typeface="Arial Narrow"/>
                  <a:ea typeface="+mn-ea"/>
                  <a:cs typeface="+mn-cs"/>
                </a:rPr>
                <a:t>$1</a:t>
              </a:r>
              <a:r>
                <a:rPr kumimoji="0" lang="en-US" sz="2000" b="0" i="0" u="none" strike="noStrike" kern="1200" cap="none" spc="0" normalizeH="0" baseline="0" noProof="0" dirty="0">
                  <a:ln>
                    <a:noFill/>
                  </a:ln>
                  <a:solidFill>
                    <a:srgbClr val="334886"/>
                  </a:solidFill>
                  <a:effectLst/>
                  <a:uLnTx/>
                  <a:uFillTx/>
                  <a:latin typeface="Arial Narrow"/>
                  <a:ea typeface="+mn-ea"/>
                  <a:cs typeface="+mn-cs"/>
                </a:rPr>
                <a:t> </a:t>
              </a:r>
              <a:r>
                <a:rPr kumimoji="0" lang="en-US" sz="1600" b="0" i="0" u="none" strike="noStrike" kern="1200" cap="none" spc="0" normalizeH="0" baseline="0" noProof="0" dirty="0">
                  <a:ln>
                    <a:noFill/>
                  </a:ln>
                  <a:solidFill>
                    <a:srgbClr val="334886"/>
                  </a:solidFill>
                  <a:effectLst/>
                  <a:uLnTx/>
                  <a:uFillTx/>
                  <a:latin typeface="Arial Narrow"/>
                  <a:ea typeface="+mn-ea"/>
                  <a:cs typeface="+mn-cs"/>
                </a:rPr>
                <a:t>invested creates </a:t>
              </a:r>
              <a:r>
                <a:rPr kumimoji="0" lang="en-US" sz="2000" b="1" i="0" u="none" strike="noStrike" kern="1200" cap="none" spc="0" normalizeH="0" baseline="0" noProof="0" dirty="0">
                  <a:ln>
                    <a:noFill/>
                  </a:ln>
                  <a:solidFill>
                    <a:srgbClr val="334886"/>
                  </a:solidFill>
                  <a:effectLst/>
                  <a:uLnTx/>
                  <a:uFillTx/>
                  <a:latin typeface="Arial Narrow"/>
                  <a:ea typeface="+mn-ea"/>
                  <a:cs typeface="+mn-cs"/>
                </a:rPr>
                <a:t>$4</a:t>
              </a:r>
              <a:r>
                <a:rPr kumimoji="0" lang="en-US" sz="2000" b="0" i="0" u="none" strike="noStrike" kern="1200" cap="none" spc="0" normalizeH="0" baseline="0" noProof="0" dirty="0">
                  <a:ln>
                    <a:noFill/>
                  </a:ln>
                  <a:solidFill>
                    <a:srgbClr val="334886"/>
                  </a:solidFill>
                  <a:effectLst/>
                  <a:uLnTx/>
                  <a:uFillTx/>
                  <a:latin typeface="Arial Narrow"/>
                  <a:ea typeface="+mn-ea"/>
                  <a:cs typeface="+mn-cs"/>
                </a:rPr>
                <a:t> </a:t>
              </a:r>
              <a:r>
                <a:rPr kumimoji="0" lang="en-US" sz="1600" b="0" i="0" u="none" strike="noStrike" kern="1200" cap="none" spc="0" normalizeH="0" baseline="0" noProof="0" dirty="0">
                  <a:ln>
                    <a:noFill/>
                  </a:ln>
                  <a:solidFill>
                    <a:srgbClr val="334886"/>
                  </a:solidFill>
                  <a:effectLst/>
                  <a:uLnTx/>
                  <a:uFillTx/>
                  <a:latin typeface="Arial Narrow"/>
                  <a:ea typeface="+mn-ea"/>
                  <a:cs typeface="+mn-cs"/>
                </a:rPr>
                <a:t>in economic benefits </a:t>
              </a:r>
            </a:p>
          </p:txBody>
        </p:sp>
        <p:pic>
          <p:nvPicPr>
            <p:cNvPr id="38" name="Picture 37">
              <a:extLst>
                <a:ext uri="{FF2B5EF4-FFF2-40B4-BE49-F238E27FC236}">
                  <a16:creationId xmlns:a16="http://schemas.microsoft.com/office/drawing/2014/main" id="{02218117-3226-A8D7-F144-0599788F7FE1}"/>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r="20574" b="8390"/>
            <a:stretch/>
          </p:blipFill>
          <p:spPr>
            <a:xfrm>
              <a:off x="7568429" y="3532388"/>
              <a:ext cx="1500717" cy="999969"/>
            </a:xfrm>
            <a:prstGeom prst="rect">
              <a:avLst/>
            </a:prstGeom>
          </p:spPr>
        </p:pic>
        <p:cxnSp>
          <p:nvCxnSpPr>
            <p:cNvPr id="98" name="Straight Connector 97">
              <a:extLst>
                <a:ext uri="{FF2B5EF4-FFF2-40B4-BE49-F238E27FC236}">
                  <a16:creationId xmlns:a16="http://schemas.microsoft.com/office/drawing/2014/main" id="{E7278C03-69DB-4778-E45C-6DE28EF56449}"/>
                </a:ext>
              </a:extLst>
            </p:cNvPr>
            <p:cNvCxnSpPr>
              <a:cxnSpLocks/>
            </p:cNvCxnSpPr>
            <p:nvPr/>
          </p:nvCxnSpPr>
          <p:spPr>
            <a:xfrm>
              <a:off x="7568429" y="4589868"/>
              <a:ext cx="3291840" cy="0"/>
            </a:xfrm>
            <a:prstGeom prst="line">
              <a:avLst/>
            </a:prstGeom>
            <a:ln w="38100" cmpd="sng">
              <a:solidFill>
                <a:srgbClr val="23417E"/>
              </a:solidFill>
              <a:prstDash val="solid"/>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9786836B-8CC4-0BA8-B241-D772BE5E3753}"/>
              </a:ext>
            </a:extLst>
          </p:cNvPr>
          <p:cNvGrpSpPr/>
          <p:nvPr/>
        </p:nvGrpSpPr>
        <p:grpSpPr>
          <a:xfrm>
            <a:off x="7589912" y="3625978"/>
            <a:ext cx="3358541" cy="1107380"/>
            <a:chOff x="6742954" y="2290583"/>
            <a:chExt cx="3358541" cy="1107380"/>
          </a:xfrm>
        </p:grpSpPr>
        <p:sp>
          <p:nvSpPr>
            <p:cNvPr id="25" name="masterTextbox1">
              <a:extLst>
                <a:ext uri="{FF2B5EF4-FFF2-40B4-BE49-F238E27FC236}">
                  <a16:creationId xmlns:a16="http://schemas.microsoft.com/office/drawing/2014/main" id="{06BC7584-3D67-CD89-DC29-F8FDA9819B4C}"/>
                </a:ext>
              </a:extLst>
            </p:cNvPr>
            <p:cNvSpPr txBox="1">
              <a:spLocks/>
            </p:cNvSpPr>
            <p:nvPr>
              <p:custDataLst>
                <p:tags r:id="rId6"/>
              </p:custDataLst>
            </p:nvPr>
          </p:nvSpPr>
          <p:spPr>
            <a:xfrm>
              <a:off x="8310372" y="2290583"/>
              <a:ext cx="1791123" cy="1080000"/>
            </a:xfrm>
            <a:prstGeom prst="rect">
              <a:avLst/>
            </a:prstGeom>
            <a:solidFill>
              <a:srgbClr val="FFFFFF"/>
            </a:solidFill>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tx1"/>
                </a:buClr>
                <a:buFontTx/>
                <a:buNone/>
                <a:defRPr sz="1600" kern="1200">
                  <a:solidFill>
                    <a:schemeClr val="tx1"/>
                  </a:solidFill>
                  <a:latin typeface="+mn-lt"/>
                  <a:ea typeface="+mn-ea"/>
                  <a:cs typeface="+mn-cs"/>
                </a:defRPr>
              </a:lvl1pPr>
              <a:lvl2pPr marL="1836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2pPr>
              <a:lvl3pPr marL="3600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3pPr>
              <a:lvl4pPr marL="540000" indent="-1836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4pPr>
              <a:lvl5pPr marL="716400" indent="-176400"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0"/>
                </a:spcAft>
                <a:buClr>
                  <a:srgbClr val="FBD31B"/>
                </a:buClr>
                <a:buSzPct val="100000"/>
                <a:buFont typeface="Arial" panose="020B0604020202020204" pitchFamily="34" charset="0"/>
                <a:buNone/>
                <a:tabLst/>
                <a:defRPr/>
              </a:pPr>
              <a:r>
                <a:rPr kumimoji="0" lang="en-US" sz="4800" b="1" i="0" u="none" strike="noStrike" kern="1200" cap="none" spc="0" normalizeH="0" baseline="0" noProof="0" dirty="0">
                  <a:ln>
                    <a:noFill/>
                  </a:ln>
                  <a:solidFill>
                    <a:srgbClr val="334886"/>
                  </a:solidFill>
                  <a:effectLst/>
                  <a:uLnTx/>
                  <a:uFillTx/>
                  <a:latin typeface="Arial Narrow"/>
                  <a:ea typeface="+mn-ea"/>
                  <a:cs typeface="+mn-cs"/>
                </a:rPr>
                <a:t>$58.5M</a:t>
              </a:r>
              <a:r>
                <a:rPr kumimoji="0" lang="en-US" sz="2400" b="1" i="0" u="none" strike="noStrike" kern="1200" cap="none" spc="0" normalizeH="0" baseline="90000" noProof="0" dirty="0">
                  <a:ln>
                    <a:noFill/>
                  </a:ln>
                  <a:solidFill>
                    <a:srgbClr val="334886"/>
                  </a:solidFill>
                  <a:effectLst/>
                  <a:uLnTx/>
                  <a:uFillTx/>
                  <a:latin typeface="Arial Narrow"/>
                  <a:ea typeface="+mn-ea"/>
                  <a:cs typeface="+mn-cs"/>
                </a:rPr>
                <a:t>1</a:t>
              </a:r>
              <a:endParaRPr kumimoji="0" lang="en-US" sz="4800" b="1" i="0" u="none" strike="noStrike" kern="1200" cap="none" spc="0" normalizeH="0" baseline="90000" noProof="0" dirty="0">
                <a:ln>
                  <a:noFill/>
                </a:ln>
                <a:solidFill>
                  <a:srgbClr val="334886"/>
                </a:solidFill>
                <a:effectLst/>
                <a:uLnTx/>
                <a:uFillTx/>
                <a:latin typeface="Arial Narrow"/>
                <a:ea typeface="+mn-ea"/>
                <a:cs typeface="+mn-cs"/>
              </a:endParaRPr>
            </a:p>
            <a:p>
              <a:pPr marL="0" marR="0" lvl="1" indent="0" algn="ctr" defTabSz="914400" rtl="0" eaLnBrk="1" fontAlgn="auto" latinLnBrk="0" hangingPunct="1">
                <a:lnSpc>
                  <a:spcPct val="100000"/>
                </a:lnSpc>
                <a:spcBef>
                  <a:spcPts val="0"/>
                </a:spcBef>
                <a:spcAft>
                  <a:spcPts val="0"/>
                </a:spcAft>
                <a:buClr>
                  <a:srgbClr val="FBD31B"/>
                </a:buClr>
                <a:buSzPct val="100000"/>
                <a:buFont typeface="Arial" panose="020B0604020202020204" pitchFamily="34" charset="0"/>
                <a:buNone/>
                <a:tabLst/>
                <a:defRPr/>
              </a:pPr>
              <a:r>
                <a:rPr kumimoji="0" lang="en-US" sz="1600" b="0" i="0" u="none" strike="noStrike" kern="1200" cap="none" spc="0" normalizeH="0" baseline="0" noProof="0" dirty="0">
                  <a:ln>
                    <a:noFill/>
                  </a:ln>
                  <a:solidFill>
                    <a:srgbClr val="334886"/>
                  </a:solidFill>
                  <a:effectLst/>
                  <a:uLnTx/>
                  <a:uFillTx/>
                  <a:latin typeface="Arial Narrow"/>
                  <a:ea typeface="+mn-ea"/>
                  <a:cs typeface="+mn-cs"/>
                </a:rPr>
                <a:t>in labor income</a:t>
              </a:r>
            </a:p>
          </p:txBody>
        </p:sp>
        <p:pic>
          <p:nvPicPr>
            <p:cNvPr id="39" name="Picture 38">
              <a:extLst>
                <a:ext uri="{FF2B5EF4-FFF2-40B4-BE49-F238E27FC236}">
                  <a16:creationId xmlns:a16="http://schemas.microsoft.com/office/drawing/2014/main" id="{937CF7FB-C8BB-886C-51E8-3E9CB5AB058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742954" y="2330599"/>
              <a:ext cx="1500717" cy="999969"/>
            </a:xfrm>
            <a:prstGeom prst="rect">
              <a:avLst/>
            </a:prstGeom>
          </p:spPr>
        </p:pic>
        <p:cxnSp>
          <p:nvCxnSpPr>
            <p:cNvPr id="99" name="Straight Connector 98">
              <a:extLst>
                <a:ext uri="{FF2B5EF4-FFF2-40B4-BE49-F238E27FC236}">
                  <a16:creationId xmlns:a16="http://schemas.microsoft.com/office/drawing/2014/main" id="{003443EC-021D-47A7-F4C4-DE1387FAF60D}"/>
                </a:ext>
              </a:extLst>
            </p:cNvPr>
            <p:cNvCxnSpPr>
              <a:cxnSpLocks/>
            </p:cNvCxnSpPr>
            <p:nvPr/>
          </p:nvCxnSpPr>
          <p:spPr>
            <a:xfrm>
              <a:off x="6742954" y="3397963"/>
              <a:ext cx="3291840" cy="0"/>
            </a:xfrm>
            <a:prstGeom prst="line">
              <a:avLst/>
            </a:prstGeom>
            <a:ln w="38100" cmpd="sng">
              <a:solidFill>
                <a:srgbClr val="23417E"/>
              </a:solidFill>
              <a:prstDash val="solid"/>
            </a:ln>
          </p:spPr>
          <p:style>
            <a:lnRef idx="1">
              <a:schemeClr val="accent1"/>
            </a:lnRef>
            <a:fillRef idx="0">
              <a:schemeClr val="accent1"/>
            </a:fillRef>
            <a:effectRef idx="0">
              <a:schemeClr val="accent1"/>
            </a:effectRef>
            <a:fontRef idx="minor">
              <a:schemeClr val="tx1"/>
            </a:fontRef>
          </p:style>
        </p:cxnSp>
      </p:grpSp>
      <p:sp>
        <p:nvSpPr>
          <p:cNvPr id="93" name="Textbox">
            <a:extLst>
              <a:ext uri="{FF2B5EF4-FFF2-40B4-BE49-F238E27FC236}">
                <a16:creationId xmlns:a16="http://schemas.microsoft.com/office/drawing/2014/main" id="{26DDA65D-F78E-69A8-CCFC-A0AA807EA8EC}"/>
              </a:ext>
            </a:extLst>
          </p:cNvPr>
          <p:cNvSpPr txBox="1">
            <a:spLocks/>
          </p:cNvSpPr>
          <p:nvPr/>
        </p:nvSpPr>
        <p:spPr>
          <a:xfrm>
            <a:off x="2937855" y="5964669"/>
            <a:ext cx="511520" cy="23474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Narrow" pitchFamily="34" charset="0"/>
                <a:ea typeface="+mn-ea"/>
                <a:cs typeface="Arial" pitchFamily="34" charset="0"/>
              </a:rPr>
              <a:t>$</a:t>
            </a:r>
            <a:endParaRPr kumimoji="0" lang="en-US" sz="1400" b="0" i="0" u="none" strike="noStrike" kern="1200" cap="none" spc="0" normalizeH="0" baseline="0" noProof="0" dirty="0">
              <a:ln>
                <a:noFill/>
              </a:ln>
              <a:solidFill>
                <a:srgbClr val="FFFFFF"/>
              </a:solidFill>
              <a:effectLst/>
              <a:uLnTx/>
              <a:uFillTx/>
              <a:latin typeface="Arial Narrow" pitchFamily="34" charset="0"/>
              <a:ea typeface="+mn-ea"/>
              <a:cs typeface="Arial" pitchFamily="34" charset="0"/>
            </a:endParaRPr>
          </a:p>
        </p:txBody>
      </p:sp>
      <p:grpSp>
        <p:nvGrpSpPr>
          <p:cNvPr id="114" name="Group 113">
            <a:extLst>
              <a:ext uri="{FF2B5EF4-FFF2-40B4-BE49-F238E27FC236}">
                <a16:creationId xmlns:a16="http://schemas.microsoft.com/office/drawing/2014/main" id="{3B5A9367-9D54-AEE5-0809-0592F2C935EE}"/>
              </a:ext>
            </a:extLst>
          </p:cNvPr>
          <p:cNvGrpSpPr/>
          <p:nvPr/>
        </p:nvGrpSpPr>
        <p:grpSpPr>
          <a:xfrm>
            <a:off x="458029" y="1698379"/>
            <a:ext cx="5415086" cy="4322544"/>
            <a:chOff x="458029" y="1466149"/>
            <a:chExt cx="5415086" cy="4322544"/>
          </a:xfrm>
        </p:grpSpPr>
        <p:sp>
          <p:nvSpPr>
            <p:cNvPr id="16" name="Oval 15">
              <a:extLst>
                <a:ext uri="{FF2B5EF4-FFF2-40B4-BE49-F238E27FC236}">
                  <a16:creationId xmlns:a16="http://schemas.microsoft.com/office/drawing/2014/main" id="{4E4B6BBF-EF14-52CC-4126-1C5D0D18535F}"/>
                </a:ext>
              </a:extLst>
            </p:cNvPr>
            <p:cNvSpPr/>
            <p:nvPr/>
          </p:nvSpPr>
          <p:spPr>
            <a:xfrm>
              <a:off x="2254329" y="2208291"/>
              <a:ext cx="1828800" cy="1828800"/>
            </a:xfrm>
            <a:prstGeom prst="ellipse">
              <a:avLst/>
            </a:prstGeom>
            <a:solidFill>
              <a:srgbClr val="FFFFFF"/>
            </a:solidFill>
            <a:ln w="19050" cmpd="sng">
              <a:solidFill>
                <a:srgbClr val="23417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27" name="Freeform: Shape 26">
              <a:extLst>
                <a:ext uri="{FF2B5EF4-FFF2-40B4-BE49-F238E27FC236}">
                  <a16:creationId xmlns:a16="http://schemas.microsoft.com/office/drawing/2014/main" id="{61F96587-EB84-68DD-7EED-E44799BCD91D}"/>
                </a:ext>
              </a:extLst>
            </p:cNvPr>
            <p:cNvSpPr/>
            <p:nvPr/>
          </p:nvSpPr>
          <p:spPr>
            <a:xfrm>
              <a:off x="2448576" y="2277381"/>
              <a:ext cx="1440306" cy="407525"/>
            </a:xfrm>
            <a:custGeom>
              <a:avLst/>
              <a:gdLst>
                <a:gd name="connsiteX0" fmla="*/ 720153 w 1440306"/>
                <a:gd name="connsiteY0" fmla="*/ 0 h 407525"/>
                <a:gd name="connsiteX1" fmla="*/ 1421520 w 1440306"/>
                <a:gd name="connsiteY1" fmla="*/ 372914 h 407525"/>
                <a:gd name="connsiteX2" fmla="*/ 1440306 w 1440306"/>
                <a:gd name="connsiteY2" fmla="*/ 407525 h 407525"/>
                <a:gd name="connsiteX3" fmla="*/ 0 w 1440306"/>
                <a:gd name="connsiteY3" fmla="*/ 407525 h 407525"/>
                <a:gd name="connsiteX4" fmla="*/ 18786 w 1440306"/>
                <a:gd name="connsiteY4" fmla="*/ 372914 h 407525"/>
                <a:gd name="connsiteX5" fmla="*/ 720153 w 1440306"/>
                <a:gd name="connsiteY5" fmla="*/ 0 h 40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0306" h="407525">
                  <a:moveTo>
                    <a:pt x="720153" y="0"/>
                  </a:moveTo>
                  <a:cubicBezTo>
                    <a:pt x="1012111" y="0"/>
                    <a:pt x="1269520" y="147925"/>
                    <a:pt x="1421520" y="372914"/>
                  </a:cubicBezTo>
                  <a:lnTo>
                    <a:pt x="1440306" y="407525"/>
                  </a:lnTo>
                  <a:lnTo>
                    <a:pt x="0" y="407525"/>
                  </a:lnTo>
                  <a:lnTo>
                    <a:pt x="18786" y="372914"/>
                  </a:lnTo>
                  <a:cubicBezTo>
                    <a:pt x="170786" y="147925"/>
                    <a:pt x="428195" y="0"/>
                    <a:pt x="720153" y="0"/>
                  </a:cubicBezTo>
                  <a:close/>
                </a:path>
              </a:pathLst>
            </a:custGeom>
            <a:solidFill>
              <a:srgbClr val="00AEEF"/>
            </a:solidFill>
            <a:ln>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Narrow"/>
                  <a:ea typeface="+mn-ea"/>
                  <a:cs typeface="+mn-cs"/>
                </a:rPr>
                <a:t>DIRECT EFFECTS</a:t>
              </a:r>
            </a:p>
          </p:txBody>
        </p:sp>
        <p:sp>
          <p:nvSpPr>
            <p:cNvPr id="11" name="Arrow: Down 10">
              <a:extLst>
                <a:ext uri="{FF2B5EF4-FFF2-40B4-BE49-F238E27FC236}">
                  <a16:creationId xmlns:a16="http://schemas.microsoft.com/office/drawing/2014/main" id="{1AF8BA0B-9F20-A958-B740-CFA9DEB683E4}"/>
                </a:ext>
              </a:extLst>
            </p:cNvPr>
            <p:cNvSpPr/>
            <p:nvPr/>
          </p:nvSpPr>
          <p:spPr>
            <a:xfrm>
              <a:off x="2965083" y="1733611"/>
              <a:ext cx="402336" cy="556972"/>
            </a:xfrm>
            <a:prstGeom prst="down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Narrow"/>
                  <a:ea typeface="+mn-ea"/>
                  <a:cs typeface="+mn-cs"/>
                </a:rPr>
                <a:t>$</a:t>
              </a:r>
            </a:p>
          </p:txBody>
        </p:sp>
        <p:sp>
          <p:nvSpPr>
            <p:cNvPr id="44" name="Textbox">
              <a:extLst>
                <a:ext uri="{FF2B5EF4-FFF2-40B4-BE49-F238E27FC236}">
                  <a16:creationId xmlns:a16="http://schemas.microsoft.com/office/drawing/2014/main" id="{97F1A096-BF6F-9648-2136-EE041A9BD216}"/>
                </a:ext>
              </a:extLst>
            </p:cNvPr>
            <p:cNvSpPr txBox="1">
              <a:spLocks/>
            </p:cNvSpPr>
            <p:nvPr/>
          </p:nvSpPr>
          <p:spPr>
            <a:xfrm>
              <a:off x="2257812" y="2877894"/>
              <a:ext cx="1821834" cy="36576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Contractors: </a:t>
              </a:r>
              <a:r>
                <a:rPr kumimoji="0" lang="en-US" sz="1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Construction worker salaries; manufacturing, production</a:t>
              </a:r>
            </a:p>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Employees: </a:t>
              </a:r>
              <a:r>
                <a:rPr kumimoji="0" lang="en-US" sz="1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Salaries, other expenses</a:t>
              </a:r>
            </a:p>
          </p:txBody>
        </p:sp>
        <p:grpSp>
          <p:nvGrpSpPr>
            <p:cNvPr id="52" name="easyIcon">
              <a:extLst>
                <a:ext uri="{FF2B5EF4-FFF2-40B4-BE49-F238E27FC236}">
                  <a16:creationId xmlns:a16="http://schemas.microsoft.com/office/drawing/2014/main" id="{8AFB606C-2E37-D2B9-2C2F-F546D61AD419}"/>
                </a:ext>
              </a:extLst>
            </p:cNvPr>
            <p:cNvGrpSpPr>
              <a:grpSpLocks noChangeAspect="1"/>
            </p:cNvGrpSpPr>
            <p:nvPr>
              <p:custDataLst>
                <p:tags r:id="rId3"/>
              </p:custDataLst>
            </p:nvPr>
          </p:nvGrpSpPr>
          <p:grpSpPr>
            <a:xfrm>
              <a:off x="2512822" y="3343572"/>
              <a:ext cx="457199" cy="457199"/>
              <a:chOff x="8602809" y="1583631"/>
              <a:chExt cx="714050" cy="714050"/>
            </a:xfrm>
          </p:grpSpPr>
          <p:sp>
            <p:nvSpPr>
              <p:cNvPr id="53" name="Background">
                <a:extLst>
                  <a:ext uri="{FF2B5EF4-FFF2-40B4-BE49-F238E27FC236}">
                    <a16:creationId xmlns:a16="http://schemas.microsoft.com/office/drawing/2014/main" id="{EEAB52C6-69A6-97EF-ADFB-D2A678BFA5FC}"/>
                  </a:ext>
                </a:extLst>
              </p:cNvPr>
              <p:cNvSpPr/>
              <p:nvPr/>
            </p:nvSpPr>
            <p:spPr>
              <a:xfrm>
                <a:off x="8602809" y="1583631"/>
                <a:ext cx="714050" cy="71405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54" name="Vector">
                <a:extLst>
                  <a:ext uri="{FF2B5EF4-FFF2-40B4-BE49-F238E27FC236}">
                    <a16:creationId xmlns:a16="http://schemas.microsoft.com/office/drawing/2014/main" id="{584F9E17-C073-E67D-DFB2-311CD5882F48}"/>
                  </a:ext>
                </a:extLst>
              </p:cNvPr>
              <p:cNvSpPr>
                <a:spLocks noChangeAspect="1"/>
              </p:cNvSpPr>
              <p:nvPr/>
            </p:nvSpPr>
            <p:spPr bwMode="gray">
              <a:xfrm>
                <a:off x="8710234" y="1652656"/>
                <a:ext cx="499200" cy="576001"/>
              </a:xfrm>
              <a:custGeom>
                <a:avLst/>
                <a:gdLst>
                  <a:gd name="connsiteX0" fmla="*/ 192113 w 568057"/>
                  <a:gd name="connsiteY0" fmla="*/ 382347 h 655451"/>
                  <a:gd name="connsiteX1" fmla="*/ 185711 w 568057"/>
                  <a:gd name="connsiteY1" fmla="*/ 382347 h 655451"/>
                  <a:gd name="connsiteX2" fmla="*/ 183242 w 568057"/>
                  <a:gd name="connsiteY2" fmla="*/ 382849 h 655451"/>
                  <a:gd name="connsiteX3" fmla="*/ 178720 w 568057"/>
                  <a:gd name="connsiteY3" fmla="*/ 383253 h 655451"/>
                  <a:gd name="connsiteX4" fmla="*/ 173312 w 568057"/>
                  <a:gd name="connsiteY4" fmla="*/ 383854 h 655451"/>
                  <a:gd name="connsiteX5" fmla="*/ 160454 w 568057"/>
                  <a:gd name="connsiteY5" fmla="*/ 385820 h 655451"/>
                  <a:gd name="connsiteX6" fmla="*/ 155309 w 568057"/>
                  <a:gd name="connsiteY6" fmla="*/ 386793 h 655451"/>
                  <a:gd name="connsiteX7" fmla="*/ 138792 w 568057"/>
                  <a:gd name="connsiteY7" fmla="*/ 391020 h 655451"/>
                  <a:gd name="connsiteX8" fmla="*/ 138650 w 568057"/>
                  <a:gd name="connsiteY8" fmla="*/ 391086 h 655451"/>
                  <a:gd name="connsiteX9" fmla="*/ 0 w 568057"/>
                  <a:gd name="connsiteY9" fmla="*/ 578982 h 655451"/>
                  <a:gd name="connsiteX10" fmla="*/ 0 w 568057"/>
                  <a:gd name="connsiteY10" fmla="*/ 644527 h 655451"/>
                  <a:gd name="connsiteX11" fmla="*/ 10924 w 568057"/>
                  <a:gd name="connsiteY11" fmla="*/ 655451 h 655451"/>
                  <a:gd name="connsiteX12" fmla="*/ 557134 w 568057"/>
                  <a:gd name="connsiteY12" fmla="*/ 655451 h 655451"/>
                  <a:gd name="connsiteX13" fmla="*/ 568058 w 568057"/>
                  <a:gd name="connsiteY13" fmla="*/ 644527 h 655451"/>
                  <a:gd name="connsiteX14" fmla="*/ 568058 w 568057"/>
                  <a:gd name="connsiteY14" fmla="*/ 578982 h 655451"/>
                  <a:gd name="connsiteX15" fmla="*/ 429397 w 568057"/>
                  <a:gd name="connsiteY15" fmla="*/ 391086 h 655451"/>
                  <a:gd name="connsiteX16" fmla="*/ 429255 w 568057"/>
                  <a:gd name="connsiteY16" fmla="*/ 391020 h 655451"/>
                  <a:gd name="connsiteX17" fmla="*/ 412738 w 568057"/>
                  <a:gd name="connsiteY17" fmla="*/ 386793 h 655451"/>
                  <a:gd name="connsiteX18" fmla="*/ 407592 w 568057"/>
                  <a:gd name="connsiteY18" fmla="*/ 385820 h 655451"/>
                  <a:gd name="connsiteX19" fmla="*/ 394735 w 568057"/>
                  <a:gd name="connsiteY19" fmla="*/ 383854 h 655451"/>
                  <a:gd name="connsiteX20" fmla="*/ 389327 w 568057"/>
                  <a:gd name="connsiteY20" fmla="*/ 383253 h 655451"/>
                  <a:gd name="connsiteX21" fmla="*/ 384805 w 568057"/>
                  <a:gd name="connsiteY21" fmla="*/ 382849 h 655451"/>
                  <a:gd name="connsiteX22" fmla="*/ 382347 w 568057"/>
                  <a:gd name="connsiteY22" fmla="*/ 382347 h 655451"/>
                  <a:gd name="connsiteX23" fmla="*/ 375945 w 568057"/>
                  <a:gd name="connsiteY23" fmla="*/ 382347 h 655451"/>
                  <a:gd name="connsiteX24" fmla="*/ 349574 w 568057"/>
                  <a:gd name="connsiteY24" fmla="*/ 355976 h 655451"/>
                  <a:gd name="connsiteX25" fmla="*/ 349574 w 568057"/>
                  <a:gd name="connsiteY25" fmla="*/ 344341 h 655451"/>
                  <a:gd name="connsiteX26" fmla="*/ 426043 w 568057"/>
                  <a:gd name="connsiteY26" fmla="*/ 218484 h 655451"/>
                  <a:gd name="connsiteX27" fmla="*/ 436968 w 568057"/>
                  <a:gd name="connsiteY27" fmla="*/ 218484 h 655451"/>
                  <a:gd name="connsiteX28" fmla="*/ 447892 w 568057"/>
                  <a:gd name="connsiteY28" fmla="*/ 207560 h 655451"/>
                  <a:gd name="connsiteX29" fmla="*/ 447892 w 568057"/>
                  <a:gd name="connsiteY29" fmla="*/ 185711 h 655451"/>
                  <a:gd name="connsiteX30" fmla="*/ 349574 w 568057"/>
                  <a:gd name="connsiteY30" fmla="*/ 35667 h 655451"/>
                  <a:gd name="connsiteX31" fmla="*/ 349574 w 568057"/>
                  <a:gd name="connsiteY31" fmla="*/ 10924 h 655451"/>
                  <a:gd name="connsiteX32" fmla="*/ 338650 w 568057"/>
                  <a:gd name="connsiteY32" fmla="*/ 0 h 655451"/>
                  <a:gd name="connsiteX33" fmla="*/ 229408 w 568057"/>
                  <a:gd name="connsiteY33" fmla="*/ 0 h 655451"/>
                  <a:gd name="connsiteX34" fmla="*/ 218484 w 568057"/>
                  <a:gd name="connsiteY34" fmla="*/ 10924 h 655451"/>
                  <a:gd name="connsiteX35" fmla="*/ 218484 w 568057"/>
                  <a:gd name="connsiteY35" fmla="*/ 35667 h 655451"/>
                  <a:gd name="connsiteX36" fmla="*/ 120166 w 568057"/>
                  <a:gd name="connsiteY36" fmla="*/ 185711 h 655451"/>
                  <a:gd name="connsiteX37" fmla="*/ 120166 w 568057"/>
                  <a:gd name="connsiteY37" fmla="*/ 207560 h 655451"/>
                  <a:gd name="connsiteX38" fmla="*/ 131090 w 568057"/>
                  <a:gd name="connsiteY38" fmla="*/ 218484 h 655451"/>
                  <a:gd name="connsiteX39" fmla="*/ 142014 w 568057"/>
                  <a:gd name="connsiteY39" fmla="*/ 218484 h 655451"/>
                  <a:gd name="connsiteX40" fmla="*/ 218484 w 568057"/>
                  <a:gd name="connsiteY40" fmla="*/ 344341 h 655451"/>
                  <a:gd name="connsiteX41" fmla="*/ 218484 w 568057"/>
                  <a:gd name="connsiteY41" fmla="*/ 355976 h 655451"/>
                  <a:gd name="connsiteX42" fmla="*/ 192113 w 568057"/>
                  <a:gd name="connsiteY42" fmla="*/ 382347 h 655451"/>
                  <a:gd name="connsiteX43" fmla="*/ 399683 w 568057"/>
                  <a:gd name="connsiteY43" fmla="*/ 406697 h 655451"/>
                  <a:gd name="connsiteX44" fmla="*/ 412683 w 568057"/>
                  <a:gd name="connsiteY44" fmla="*/ 409253 h 655451"/>
                  <a:gd name="connsiteX45" fmla="*/ 415119 w 568057"/>
                  <a:gd name="connsiteY45" fmla="*/ 409930 h 655451"/>
                  <a:gd name="connsiteX46" fmla="*/ 415119 w 568057"/>
                  <a:gd name="connsiteY46" fmla="*/ 557134 h 655451"/>
                  <a:gd name="connsiteX47" fmla="*/ 421160 w 568057"/>
                  <a:gd name="connsiteY47" fmla="*/ 566911 h 655451"/>
                  <a:gd name="connsiteX48" fmla="*/ 458816 w 568057"/>
                  <a:gd name="connsiteY48" fmla="*/ 585733 h 655451"/>
                  <a:gd name="connsiteX49" fmla="*/ 458816 w 568057"/>
                  <a:gd name="connsiteY49" fmla="*/ 633603 h 655451"/>
                  <a:gd name="connsiteX50" fmla="*/ 109242 w 568057"/>
                  <a:gd name="connsiteY50" fmla="*/ 633603 h 655451"/>
                  <a:gd name="connsiteX51" fmla="*/ 109242 w 568057"/>
                  <a:gd name="connsiteY51" fmla="*/ 585733 h 655451"/>
                  <a:gd name="connsiteX52" fmla="*/ 146898 w 568057"/>
                  <a:gd name="connsiteY52" fmla="*/ 566900 h 655451"/>
                  <a:gd name="connsiteX53" fmla="*/ 152939 w 568057"/>
                  <a:gd name="connsiteY53" fmla="*/ 557134 h 655451"/>
                  <a:gd name="connsiteX54" fmla="*/ 152939 w 568057"/>
                  <a:gd name="connsiteY54" fmla="*/ 409919 h 655451"/>
                  <a:gd name="connsiteX55" fmla="*/ 155375 w 568057"/>
                  <a:gd name="connsiteY55" fmla="*/ 409242 h 655451"/>
                  <a:gd name="connsiteX56" fmla="*/ 168375 w 568057"/>
                  <a:gd name="connsiteY56" fmla="*/ 406686 h 655451"/>
                  <a:gd name="connsiteX57" fmla="*/ 174011 w 568057"/>
                  <a:gd name="connsiteY57" fmla="*/ 405713 h 655451"/>
                  <a:gd name="connsiteX58" fmla="*/ 174798 w 568057"/>
                  <a:gd name="connsiteY58" fmla="*/ 405648 h 655451"/>
                  <a:gd name="connsiteX59" fmla="*/ 174798 w 568057"/>
                  <a:gd name="connsiteY59" fmla="*/ 557134 h 655451"/>
                  <a:gd name="connsiteX60" fmla="*/ 185722 w 568057"/>
                  <a:gd name="connsiteY60" fmla="*/ 568058 h 655451"/>
                  <a:gd name="connsiteX61" fmla="*/ 382357 w 568057"/>
                  <a:gd name="connsiteY61" fmla="*/ 568058 h 655451"/>
                  <a:gd name="connsiteX62" fmla="*/ 393282 w 568057"/>
                  <a:gd name="connsiteY62" fmla="*/ 557134 h 655451"/>
                  <a:gd name="connsiteX63" fmla="*/ 393282 w 568057"/>
                  <a:gd name="connsiteY63" fmla="*/ 405659 h 655451"/>
                  <a:gd name="connsiteX64" fmla="*/ 394068 w 568057"/>
                  <a:gd name="connsiteY64" fmla="*/ 405724 h 655451"/>
                  <a:gd name="connsiteX65" fmla="*/ 399683 w 568057"/>
                  <a:gd name="connsiteY65" fmla="*/ 406697 h 655451"/>
                  <a:gd name="connsiteX66" fmla="*/ 371422 w 568057"/>
                  <a:gd name="connsiteY66" fmla="*/ 406926 h 655451"/>
                  <a:gd name="connsiteX67" fmla="*/ 371422 w 568057"/>
                  <a:gd name="connsiteY67" fmla="*/ 546209 h 655451"/>
                  <a:gd name="connsiteX68" fmla="*/ 196635 w 568057"/>
                  <a:gd name="connsiteY68" fmla="*/ 546209 h 655451"/>
                  <a:gd name="connsiteX69" fmla="*/ 196635 w 568057"/>
                  <a:gd name="connsiteY69" fmla="*/ 406926 h 655451"/>
                  <a:gd name="connsiteX70" fmla="*/ 277474 w 568057"/>
                  <a:gd name="connsiteY70" fmla="*/ 467555 h 655451"/>
                  <a:gd name="connsiteX71" fmla="*/ 284029 w 568057"/>
                  <a:gd name="connsiteY71" fmla="*/ 469740 h 655451"/>
                  <a:gd name="connsiteX72" fmla="*/ 290583 w 568057"/>
                  <a:gd name="connsiteY72" fmla="*/ 467555 h 655451"/>
                  <a:gd name="connsiteX73" fmla="*/ 371422 w 568057"/>
                  <a:gd name="connsiteY73" fmla="*/ 406926 h 655451"/>
                  <a:gd name="connsiteX74" fmla="*/ 21848 w 568057"/>
                  <a:gd name="connsiteY74" fmla="*/ 578982 h 655451"/>
                  <a:gd name="connsiteX75" fmla="*/ 131090 w 568057"/>
                  <a:gd name="connsiteY75" fmla="*/ 417129 h 655451"/>
                  <a:gd name="connsiteX76" fmla="*/ 131090 w 568057"/>
                  <a:gd name="connsiteY76" fmla="*/ 550372 h 655451"/>
                  <a:gd name="connsiteX77" fmla="*/ 109242 w 568057"/>
                  <a:gd name="connsiteY77" fmla="*/ 561296 h 655451"/>
                  <a:gd name="connsiteX78" fmla="*/ 109242 w 568057"/>
                  <a:gd name="connsiteY78" fmla="*/ 502513 h 655451"/>
                  <a:gd name="connsiteX79" fmla="*/ 87394 w 568057"/>
                  <a:gd name="connsiteY79" fmla="*/ 502513 h 655451"/>
                  <a:gd name="connsiteX80" fmla="*/ 87394 w 568057"/>
                  <a:gd name="connsiteY80" fmla="*/ 633603 h 655451"/>
                  <a:gd name="connsiteX81" fmla="*/ 21848 w 568057"/>
                  <a:gd name="connsiteY81" fmla="*/ 633603 h 655451"/>
                  <a:gd name="connsiteX82" fmla="*/ 21848 w 568057"/>
                  <a:gd name="connsiteY82" fmla="*/ 578982 h 655451"/>
                  <a:gd name="connsiteX83" fmla="*/ 546209 w 568057"/>
                  <a:gd name="connsiteY83" fmla="*/ 578982 h 655451"/>
                  <a:gd name="connsiteX84" fmla="*/ 546209 w 568057"/>
                  <a:gd name="connsiteY84" fmla="*/ 633603 h 655451"/>
                  <a:gd name="connsiteX85" fmla="*/ 480664 w 568057"/>
                  <a:gd name="connsiteY85" fmla="*/ 633603 h 655451"/>
                  <a:gd name="connsiteX86" fmla="*/ 480664 w 568057"/>
                  <a:gd name="connsiteY86" fmla="*/ 502513 h 655451"/>
                  <a:gd name="connsiteX87" fmla="*/ 458816 w 568057"/>
                  <a:gd name="connsiteY87" fmla="*/ 502513 h 655451"/>
                  <a:gd name="connsiteX88" fmla="*/ 458816 w 568057"/>
                  <a:gd name="connsiteY88" fmla="*/ 561307 h 655451"/>
                  <a:gd name="connsiteX89" fmla="*/ 436968 w 568057"/>
                  <a:gd name="connsiteY89" fmla="*/ 550382 h 655451"/>
                  <a:gd name="connsiteX90" fmla="*/ 436968 w 568057"/>
                  <a:gd name="connsiteY90" fmla="*/ 417129 h 655451"/>
                  <a:gd name="connsiteX91" fmla="*/ 546209 w 568057"/>
                  <a:gd name="connsiteY91" fmla="*/ 578982 h 655451"/>
                  <a:gd name="connsiteX92" fmla="*/ 142014 w 568057"/>
                  <a:gd name="connsiteY92" fmla="*/ 185711 h 655451"/>
                  <a:gd name="connsiteX93" fmla="*/ 220625 w 568057"/>
                  <a:gd name="connsiteY93" fmla="*/ 58881 h 655451"/>
                  <a:gd name="connsiteX94" fmla="*/ 229517 w 568057"/>
                  <a:gd name="connsiteY94" fmla="*/ 121695 h 655451"/>
                  <a:gd name="connsiteX95" fmla="*/ 251147 w 568057"/>
                  <a:gd name="connsiteY95" fmla="*/ 118637 h 655451"/>
                  <a:gd name="connsiteX96" fmla="*/ 240332 w 568057"/>
                  <a:gd name="connsiteY96" fmla="*/ 42211 h 655451"/>
                  <a:gd name="connsiteX97" fmla="*/ 240332 w 568057"/>
                  <a:gd name="connsiteY97" fmla="*/ 21848 h 655451"/>
                  <a:gd name="connsiteX98" fmla="*/ 273105 w 568057"/>
                  <a:gd name="connsiteY98" fmla="*/ 21848 h 655451"/>
                  <a:gd name="connsiteX99" fmla="*/ 273105 w 568057"/>
                  <a:gd name="connsiteY99" fmla="*/ 65545 h 655451"/>
                  <a:gd name="connsiteX100" fmla="*/ 294953 w 568057"/>
                  <a:gd name="connsiteY100" fmla="*/ 65545 h 655451"/>
                  <a:gd name="connsiteX101" fmla="*/ 294953 w 568057"/>
                  <a:gd name="connsiteY101" fmla="*/ 21848 h 655451"/>
                  <a:gd name="connsiteX102" fmla="*/ 327726 w 568057"/>
                  <a:gd name="connsiteY102" fmla="*/ 21848 h 655451"/>
                  <a:gd name="connsiteX103" fmla="*/ 327726 w 568057"/>
                  <a:gd name="connsiteY103" fmla="*/ 42211 h 655451"/>
                  <a:gd name="connsiteX104" fmla="*/ 316911 w 568057"/>
                  <a:gd name="connsiteY104" fmla="*/ 118626 h 655451"/>
                  <a:gd name="connsiteX105" fmla="*/ 338541 w 568057"/>
                  <a:gd name="connsiteY105" fmla="*/ 121685 h 655451"/>
                  <a:gd name="connsiteX106" fmla="*/ 347433 w 568057"/>
                  <a:gd name="connsiteY106" fmla="*/ 58870 h 655451"/>
                  <a:gd name="connsiteX107" fmla="*/ 426043 w 568057"/>
                  <a:gd name="connsiteY107" fmla="*/ 185711 h 655451"/>
                  <a:gd name="connsiteX108" fmla="*/ 426043 w 568057"/>
                  <a:gd name="connsiteY108" fmla="*/ 196635 h 655451"/>
                  <a:gd name="connsiteX109" fmla="*/ 414562 w 568057"/>
                  <a:gd name="connsiteY109" fmla="*/ 196635 h 655451"/>
                  <a:gd name="connsiteX110" fmla="*/ 153496 w 568057"/>
                  <a:gd name="connsiteY110" fmla="*/ 196635 h 655451"/>
                  <a:gd name="connsiteX111" fmla="*/ 142014 w 568057"/>
                  <a:gd name="connsiteY111" fmla="*/ 196635 h 655451"/>
                  <a:gd name="connsiteX112" fmla="*/ 142014 w 568057"/>
                  <a:gd name="connsiteY112" fmla="*/ 185711 h 655451"/>
                  <a:gd name="connsiteX113" fmla="*/ 163863 w 568057"/>
                  <a:gd name="connsiteY113" fmla="*/ 218484 h 655451"/>
                  <a:gd name="connsiteX114" fmla="*/ 404195 w 568057"/>
                  <a:gd name="connsiteY114" fmla="*/ 218484 h 655451"/>
                  <a:gd name="connsiteX115" fmla="*/ 333778 w 568057"/>
                  <a:gd name="connsiteY115" fmla="*/ 327737 h 655451"/>
                  <a:gd name="connsiteX116" fmla="*/ 234269 w 568057"/>
                  <a:gd name="connsiteY116" fmla="*/ 327737 h 655451"/>
                  <a:gd name="connsiteX117" fmla="*/ 163863 w 568057"/>
                  <a:gd name="connsiteY117" fmla="*/ 218484 h 655451"/>
                  <a:gd name="connsiteX118" fmla="*/ 247094 w 568057"/>
                  <a:gd name="connsiteY118" fmla="*/ 355451 h 655451"/>
                  <a:gd name="connsiteX119" fmla="*/ 252742 w 568057"/>
                  <a:gd name="connsiteY119" fmla="*/ 356904 h 655451"/>
                  <a:gd name="connsiteX120" fmla="*/ 258936 w 568057"/>
                  <a:gd name="connsiteY120" fmla="*/ 358139 h 655451"/>
                  <a:gd name="connsiteX121" fmla="*/ 265862 w 568057"/>
                  <a:gd name="connsiteY121" fmla="*/ 359198 h 655451"/>
                  <a:gd name="connsiteX122" fmla="*/ 271455 w 568057"/>
                  <a:gd name="connsiteY122" fmla="*/ 359854 h 655451"/>
                  <a:gd name="connsiteX123" fmla="*/ 281724 w 568057"/>
                  <a:gd name="connsiteY123" fmla="*/ 360378 h 655451"/>
                  <a:gd name="connsiteX124" fmla="*/ 284029 w 568057"/>
                  <a:gd name="connsiteY124" fmla="*/ 360498 h 655451"/>
                  <a:gd name="connsiteX125" fmla="*/ 286334 w 568057"/>
                  <a:gd name="connsiteY125" fmla="*/ 360378 h 655451"/>
                  <a:gd name="connsiteX126" fmla="*/ 296603 w 568057"/>
                  <a:gd name="connsiteY126" fmla="*/ 359854 h 655451"/>
                  <a:gd name="connsiteX127" fmla="*/ 302196 w 568057"/>
                  <a:gd name="connsiteY127" fmla="*/ 359198 h 655451"/>
                  <a:gd name="connsiteX128" fmla="*/ 309122 w 568057"/>
                  <a:gd name="connsiteY128" fmla="*/ 358139 h 655451"/>
                  <a:gd name="connsiteX129" fmla="*/ 315316 w 568057"/>
                  <a:gd name="connsiteY129" fmla="*/ 356904 h 655451"/>
                  <a:gd name="connsiteX130" fmla="*/ 320964 w 568057"/>
                  <a:gd name="connsiteY130" fmla="*/ 355451 h 655451"/>
                  <a:gd name="connsiteX131" fmla="*/ 327726 w 568057"/>
                  <a:gd name="connsiteY131" fmla="*/ 353550 h 655451"/>
                  <a:gd name="connsiteX132" fmla="*/ 327726 w 568057"/>
                  <a:gd name="connsiteY132" fmla="*/ 360498 h 655451"/>
                  <a:gd name="connsiteX133" fmla="*/ 330926 w 568057"/>
                  <a:gd name="connsiteY133" fmla="*/ 368222 h 655451"/>
                  <a:gd name="connsiteX134" fmla="*/ 354796 w 568057"/>
                  <a:gd name="connsiteY134" fmla="*/ 392091 h 655451"/>
                  <a:gd name="connsiteX135" fmla="*/ 284029 w 568057"/>
                  <a:gd name="connsiteY135" fmla="*/ 445161 h 655451"/>
                  <a:gd name="connsiteX136" fmla="*/ 213262 w 568057"/>
                  <a:gd name="connsiteY136" fmla="*/ 392091 h 655451"/>
                  <a:gd name="connsiteX137" fmla="*/ 237131 w 568057"/>
                  <a:gd name="connsiteY137" fmla="*/ 368222 h 655451"/>
                  <a:gd name="connsiteX138" fmla="*/ 240332 w 568057"/>
                  <a:gd name="connsiteY138" fmla="*/ 360498 h 655451"/>
                  <a:gd name="connsiteX139" fmla="*/ 240332 w 568057"/>
                  <a:gd name="connsiteY139" fmla="*/ 353550 h 655451"/>
                  <a:gd name="connsiteX140" fmla="*/ 247094 w 568057"/>
                  <a:gd name="connsiteY140" fmla="*/ 355451 h 65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568057" h="655451">
                    <a:moveTo>
                      <a:pt x="192113" y="382347"/>
                    </a:moveTo>
                    <a:lnTo>
                      <a:pt x="185711" y="382347"/>
                    </a:lnTo>
                    <a:cubicBezTo>
                      <a:pt x="184837" y="382347"/>
                      <a:pt x="184062" y="382652"/>
                      <a:pt x="183242" y="382849"/>
                    </a:cubicBezTo>
                    <a:cubicBezTo>
                      <a:pt x="181735" y="382947"/>
                      <a:pt x="180227" y="383122"/>
                      <a:pt x="178720" y="383253"/>
                    </a:cubicBezTo>
                    <a:cubicBezTo>
                      <a:pt x="176906" y="383417"/>
                      <a:pt x="175115" y="383647"/>
                      <a:pt x="173312" y="383854"/>
                    </a:cubicBezTo>
                    <a:cubicBezTo>
                      <a:pt x="169008" y="384368"/>
                      <a:pt x="164726" y="385023"/>
                      <a:pt x="160454" y="385820"/>
                    </a:cubicBezTo>
                    <a:cubicBezTo>
                      <a:pt x="158739" y="386137"/>
                      <a:pt x="157013" y="386421"/>
                      <a:pt x="155309" y="386793"/>
                    </a:cubicBezTo>
                    <a:cubicBezTo>
                      <a:pt x="149749" y="387983"/>
                      <a:pt x="144232" y="389349"/>
                      <a:pt x="138792" y="391020"/>
                    </a:cubicBezTo>
                    <a:cubicBezTo>
                      <a:pt x="138737" y="391031"/>
                      <a:pt x="138704" y="391075"/>
                      <a:pt x="138650" y="391086"/>
                    </a:cubicBezTo>
                    <a:cubicBezTo>
                      <a:pt x="58455" y="415895"/>
                      <a:pt x="0" y="490725"/>
                      <a:pt x="0" y="578982"/>
                    </a:cubicBezTo>
                    <a:lnTo>
                      <a:pt x="0" y="644527"/>
                    </a:lnTo>
                    <a:cubicBezTo>
                      <a:pt x="0" y="650557"/>
                      <a:pt x="4883" y="655451"/>
                      <a:pt x="10924" y="655451"/>
                    </a:cubicBezTo>
                    <a:lnTo>
                      <a:pt x="557134" y="655451"/>
                    </a:lnTo>
                    <a:cubicBezTo>
                      <a:pt x="563175" y="655451"/>
                      <a:pt x="568058" y="650557"/>
                      <a:pt x="568058" y="644527"/>
                    </a:cubicBezTo>
                    <a:lnTo>
                      <a:pt x="568058" y="578982"/>
                    </a:lnTo>
                    <a:cubicBezTo>
                      <a:pt x="568058" y="490725"/>
                      <a:pt x="509602" y="415895"/>
                      <a:pt x="429397" y="391086"/>
                    </a:cubicBezTo>
                    <a:cubicBezTo>
                      <a:pt x="429342" y="391064"/>
                      <a:pt x="429310" y="391031"/>
                      <a:pt x="429255" y="391020"/>
                    </a:cubicBezTo>
                    <a:cubicBezTo>
                      <a:pt x="423804" y="389349"/>
                      <a:pt x="418287" y="387983"/>
                      <a:pt x="412738" y="386793"/>
                    </a:cubicBezTo>
                    <a:cubicBezTo>
                      <a:pt x="411033" y="386432"/>
                      <a:pt x="409307" y="386148"/>
                      <a:pt x="407592" y="385820"/>
                    </a:cubicBezTo>
                    <a:cubicBezTo>
                      <a:pt x="403332" y="385023"/>
                      <a:pt x="399050" y="384368"/>
                      <a:pt x="394735" y="383854"/>
                    </a:cubicBezTo>
                    <a:cubicBezTo>
                      <a:pt x="392932" y="383636"/>
                      <a:pt x="391141" y="383417"/>
                      <a:pt x="389327" y="383253"/>
                    </a:cubicBezTo>
                    <a:cubicBezTo>
                      <a:pt x="387820" y="383111"/>
                      <a:pt x="386323" y="382947"/>
                      <a:pt x="384805" y="382849"/>
                    </a:cubicBezTo>
                    <a:cubicBezTo>
                      <a:pt x="383996" y="382652"/>
                      <a:pt x="383221" y="382347"/>
                      <a:pt x="382347" y="382347"/>
                    </a:cubicBezTo>
                    <a:lnTo>
                      <a:pt x="375945" y="382347"/>
                    </a:lnTo>
                    <a:lnTo>
                      <a:pt x="349574" y="355976"/>
                    </a:lnTo>
                    <a:lnTo>
                      <a:pt x="349574" y="344341"/>
                    </a:lnTo>
                    <a:cubicBezTo>
                      <a:pt x="394953" y="320614"/>
                      <a:pt x="426043" y="273148"/>
                      <a:pt x="426043" y="218484"/>
                    </a:cubicBezTo>
                    <a:lnTo>
                      <a:pt x="436968" y="218484"/>
                    </a:lnTo>
                    <a:cubicBezTo>
                      <a:pt x="443009" y="218484"/>
                      <a:pt x="447892" y="213590"/>
                      <a:pt x="447892" y="207560"/>
                    </a:cubicBezTo>
                    <a:lnTo>
                      <a:pt x="447892" y="185711"/>
                    </a:lnTo>
                    <a:cubicBezTo>
                      <a:pt x="447892" y="120909"/>
                      <a:pt x="408685" y="61558"/>
                      <a:pt x="349574" y="35667"/>
                    </a:cubicBezTo>
                    <a:lnTo>
                      <a:pt x="349574" y="10924"/>
                    </a:lnTo>
                    <a:cubicBezTo>
                      <a:pt x="349574" y="4894"/>
                      <a:pt x="344691" y="0"/>
                      <a:pt x="338650" y="0"/>
                    </a:cubicBezTo>
                    <a:lnTo>
                      <a:pt x="229408" y="0"/>
                    </a:lnTo>
                    <a:cubicBezTo>
                      <a:pt x="223367" y="0"/>
                      <a:pt x="218484" y="4894"/>
                      <a:pt x="218484" y="10924"/>
                    </a:cubicBezTo>
                    <a:lnTo>
                      <a:pt x="218484" y="35667"/>
                    </a:lnTo>
                    <a:cubicBezTo>
                      <a:pt x="159373" y="61558"/>
                      <a:pt x="120166" y="120909"/>
                      <a:pt x="120166" y="185711"/>
                    </a:cubicBezTo>
                    <a:lnTo>
                      <a:pt x="120166" y="207560"/>
                    </a:lnTo>
                    <a:cubicBezTo>
                      <a:pt x="120166" y="213590"/>
                      <a:pt x="125049" y="218484"/>
                      <a:pt x="131090" y="218484"/>
                    </a:cubicBezTo>
                    <a:lnTo>
                      <a:pt x="142014" y="218484"/>
                    </a:lnTo>
                    <a:cubicBezTo>
                      <a:pt x="142014" y="273148"/>
                      <a:pt x="173105" y="320614"/>
                      <a:pt x="218484" y="344341"/>
                    </a:cubicBezTo>
                    <a:lnTo>
                      <a:pt x="218484" y="355976"/>
                    </a:lnTo>
                    <a:lnTo>
                      <a:pt x="192113" y="382347"/>
                    </a:lnTo>
                    <a:close/>
                    <a:moveTo>
                      <a:pt x="399683" y="406697"/>
                    </a:moveTo>
                    <a:cubicBezTo>
                      <a:pt x="404042" y="407407"/>
                      <a:pt x="408379" y="408215"/>
                      <a:pt x="412683" y="409253"/>
                    </a:cubicBezTo>
                    <a:cubicBezTo>
                      <a:pt x="413502" y="409449"/>
                      <a:pt x="414300" y="409712"/>
                      <a:pt x="415119" y="409930"/>
                    </a:cubicBezTo>
                    <a:lnTo>
                      <a:pt x="415119" y="557134"/>
                    </a:lnTo>
                    <a:cubicBezTo>
                      <a:pt x="415119" y="561274"/>
                      <a:pt x="417457" y="565054"/>
                      <a:pt x="421160" y="566911"/>
                    </a:cubicBezTo>
                    <a:lnTo>
                      <a:pt x="458816" y="585733"/>
                    </a:lnTo>
                    <a:lnTo>
                      <a:pt x="458816" y="633603"/>
                    </a:lnTo>
                    <a:lnTo>
                      <a:pt x="109242" y="633603"/>
                    </a:lnTo>
                    <a:lnTo>
                      <a:pt x="109242" y="585733"/>
                    </a:lnTo>
                    <a:lnTo>
                      <a:pt x="146898" y="566900"/>
                    </a:lnTo>
                    <a:cubicBezTo>
                      <a:pt x="150601" y="565054"/>
                      <a:pt x="152939" y="561274"/>
                      <a:pt x="152939" y="557134"/>
                    </a:cubicBezTo>
                    <a:lnTo>
                      <a:pt x="152939" y="409919"/>
                    </a:lnTo>
                    <a:cubicBezTo>
                      <a:pt x="153758" y="409712"/>
                      <a:pt x="154555" y="409449"/>
                      <a:pt x="155375" y="409242"/>
                    </a:cubicBezTo>
                    <a:cubicBezTo>
                      <a:pt x="159668" y="408204"/>
                      <a:pt x="164016" y="407396"/>
                      <a:pt x="168375" y="406686"/>
                    </a:cubicBezTo>
                    <a:cubicBezTo>
                      <a:pt x="170253" y="406380"/>
                      <a:pt x="172100" y="405965"/>
                      <a:pt x="174011" y="405713"/>
                    </a:cubicBezTo>
                    <a:cubicBezTo>
                      <a:pt x="174274" y="405681"/>
                      <a:pt x="174536" y="405681"/>
                      <a:pt x="174798" y="405648"/>
                    </a:cubicBezTo>
                    <a:lnTo>
                      <a:pt x="174798" y="557134"/>
                    </a:lnTo>
                    <a:cubicBezTo>
                      <a:pt x="174798" y="563164"/>
                      <a:pt x="179681" y="568058"/>
                      <a:pt x="185722" y="568058"/>
                    </a:cubicBezTo>
                    <a:lnTo>
                      <a:pt x="382357" y="568058"/>
                    </a:lnTo>
                    <a:cubicBezTo>
                      <a:pt x="388399" y="568058"/>
                      <a:pt x="393282" y="563164"/>
                      <a:pt x="393282" y="557134"/>
                    </a:cubicBezTo>
                    <a:lnTo>
                      <a:pt x="393282" y="405659"/>
                    </a:lnTo>
                    <a:cubicBezTo>
                      <a:pt x="393544" y="405692"/>
                      <a:pt x="393806" y="405692"/>
                      <a:pt x="394068" y="405724"/>
                    </a:cubicBezTo>
                    <a:cubicBezTo>
                      <a:pt x="395958" y="405976"/>
                      <a:pt x="397804" y="406380"/>
                      <a:pt x="399683" y="406697"/>
                    </a:cubicBezTo>
                    <a:close/>
                    <a:moveTo>
                      <a:pt x="371422" y="406926"/>
                    </a:moveTo>
                    <a:lnTo>
                      <a:pt x="371422" y="546209"/>
                    </a:lnTo>
                    <a:lnTo>
                      <a:pt x="196635" y="546209"/>
                    </a:lnTo>
                    <a:lnTo>
                      <a:pt x="196635" y="406926"/>
                    </a:lnTo>
                    <a:lnTo>
                      <a:pt x="277474" y="467555"/>
                    </a:lnTo>
                    <a:cubicBezTo>
                      <a:pt x="279419" y="469008"/>
                      <a:pt x="281724" y="469740"/>
                      <a:pt x="284029" y="469740"/>
                    </a:cubicBezTo>
                    <a:cubicBezTo>
                      <a:pt x="286334" y="469740"/>
                      <a:pt x="288639" y="469008"/>
                      <a:pt x="290583" y="467555"/>
                    </a:cubicBezTo>
                    <a:lnTo>
                      <a:pt x="371422" y="406926"/>
                    </a:lnTo>
                    <a:close/>
                    <a:moveTo>
                      <a:pt x="21848" y="578982"/>
                    </a:moveTo>
                    <a:cubicBezTo>
                      <a:pt x="21848" y="505801"/>
                      <a:pt x="67140" y="443140"/>
                      <a:pt x="131090" y="417129"/>
                    </a:cubicBezTo>
                    <a:lnTo>
                      <a:pt x="131090" y="550372"/>
                    </a:lnTo>
                    <a:lnTo>
                      <a:pt x="109242" y="561296"/>
                    </a:lnTo>
                    <a:lnTo>
                      <a:pt x="109242" y="502513"/>
                    </a:lnTo>
                    <a:lnTo>
                      <a:pt x="87394" y="502513"/>
                    </a:lnTo>
                    <a:lnTo>
                      <a:pt x="87394" y="633603"/>
                    </a:lnTo>
                    <a:lnTo>
                      <a:pt x="21848" y="633603"/>
                    </a:lnTo>
                    <a:lnTo>
                      <a:pt x="21848" y="578982"/>
                    </a:lnTo>
                    <a:close/>
                    <a:moveTo>
                      <a:pt x="546209" y="578982"/>
                    </a:moveTo>
                    <a:lnTo>
                      <a:pt x="546209" y="633603"/>
                    </a:lnTo>
                    <a:lnTo>
                      <a:pt x="480664" y="633603"/>
                    </a:lnTo>
                    <a:lnTo>
                      <a:pt x="480664" y="502513"/>
                    </a:lnTo>
                    <a:lnTo>
                      <a:pt x="458816" y="502513"/>
                    </a:lnTo>
                    <a:lnTo>
                      <a:pt x="458816" y="561307"/>
                    </a:lnTo>
                    <a:lnTo>
                      <a:pt x="436968" y="550382"/>
                    </a:lnTo>
                    <a:lnTo>
                      <a:pt x="436968" y="417129"/>
                    </a:lnTo>
                    <a:cubicBezTo>
                      <a:pt x="500918" y="443140"/>
                      <a:pt x="546209" y="505801"/>
                      <a:pt x="546209" y="578982"/>
                    </a:cubicBezTo>
                    <a:close/>
                    <a:moveTo>
                      <a:pt x="142014" y="185711"/>
                    </a:moveTo>
                    <a:cubicBezTo>
                      <a:pt x="142014" y="132030"/>
                      <a:pt x="173116" y="82729"/>
                      <a:pt x="220625" y="58881"/>
                    </a:cubicBezTo>
                    <a:lnTo>
                      <a:pt x="229517" y="121695"/>
                    </a:lnTo>
                    <a:lnTo>
                      <a:pt x="251147" y="118637"/>
                    </a:lnTo>
                    <a:lnTo>
                      <a:pt x="240332" y="42211"/>
                    </a:lnTo>
                    <a:lnTo>
                      <a:pt x="240332" y="21848"/>
                    </a:lnTo>
                    <a:lnTo>
                      <a:pt x="273105" y="21848"/>
                    </a:lnTo>
                    <a:lnTo>
                      <a:pt x="273105" y="65545"/>
                    </a:lnTo>
                    <a:lnTo>
                      <a:pt x="294953" y="65545"/>
                    </a:lnTo>
                    <a:lnTo>
                      <a:pt x="294953" y="21848"/>
                    </a:lnTo>
                    <a:lnTo>
                      <a:pt x="327726" y="21848"/>
                    </a:lnTo>
                    <a:lnTo>
                      <a:pt x="327726" y="42211"/>
                    </a:lnTo>
                    <a:lnTo>
                      <a:pt x="316911" y="118626"/>
                    </a:lnTo>
                    <a:lnTo>
                      <a:pt x="338541" y="121685"/>
                    </a:lnTo>
                    <a:lnTo>
                      <a:pt x="347433" y="58870"/>
                    </a:lnTo>
                    <a:cubicBezTo>
                      <a:pt x="394942" y="82729"/>
                      <a:pt x="426043" y="132030"/>
                      <a:pt x="426043" y="185711"/>
                    </a:cubicBezTo>
                    <a:lnTo>
                      <a:pt x="426043" y="196635"/>
                    </a:lnTo>
                    <a:lnTo>
                      <a:pt x="414562" y="196635"/>
                    </a:lnTo>
                    <a:lnTo>
                      <a:pt x="153496" y="196635"/>
                    </a:lnTo>
                    <a:lnTo>
                      <a:pt x="142014" y="196635"/>
                    </a:lnTo>
                    <a:lnTo>
                      <a:pt x="142014" y="185711"/>
                    </a:lnTo>
                    <a:close/>
                    <a:moveTo>
                      <a:pt x="163863" y="218484"/>
                    </a:moveTo>
                    <a:lnTo>
                      <a:pt x="404195" y="218484"/>
                    </a:lnTo>
                    <a:cubicBezTo>
                      <a:pt x="404195" y="266987"/>
                      <a:pt x="375257" y="308772"/>
                      <a:pt x="333778" y="327737"/>
                    </a:cubicBezTo>
                    <a:cubicBezTo>
                      <a:pt x="302097" y="342200"/>
                      <a:pt x="265960" y="342200"/>
                      <a:pt x="234269" y="327737"/>
                    </a:cubicBezTo>
                    <a:cubicBezTo>
                      <a:pt x="192801" y="308772"/>
                      <a:pt x="163863" y="266987"/>
                      <a:pt x="163863" y="218484"/>
                    </a:cubicBezTo>
                    <a:close/>
                    <a:moveTo>
                      <a:pt x="247094" y="355451"/>
                    </a:moveTo>
                    <a:cubicBezTo>
                      <a:pt x="248973" y="355965"/>
                      <a:pt x="250852" y="356478"/>
                      <a:pt x="252742" y="356904"/>
                    </a:cubicBezTo>
                    <a:cubicBezTo>
                      <a:pt x="254785" y="357363"/>
                      <a:pt x="256849" y="357756"/>
                      <a:pt x="258936" y="358139"/>
                    </a:cubicBezTo>
                    <a:cubicBezTo>
                      <a:pt x="261241" y="358554"/>
                      <a:pt x="263546" y="358903"/>
                      <a:pt x="265862" y="359198"/>
                    </a:cubicBezTo>
                    <a:cubicBezTo>
                      <a:pt x="267719" y="359439"/>
                      <a:pt x="269576" y="359690"/>
                      <a:pt x="271455" y="359854"/>
                    </a:cubicBezTo>
                    <a:cubicBezTo>
                      <a:pt x="274874" y="360160"/>
                      <a:pt x="278294" y="360313"/>
                      <a:pt x="281724" y="360378"/>
                    </a:cubicBezTo>
                    <a:cubicBezTo>
                      <a:pt x="282500" y="360389"/>
                      <a:pt x="283253" y="360498"/>
                      <a:pt x="284029" y="360498"/>
                    </a:cubicBezTo>
                    <a:cubicBezTo>
                      <a:pt x="284804" y="360498"/>
                      <a:pt x="285558" y="360389"/>
                      <a:pt x="286334" y="360378"/>
                    </a:cubicBezTo>
                    <a:cubicBezTo>
                      <a:pt x="289764" y="360323"/>
                      <a:pt x="293183" y="360160"/>
                      <a:pt x="296603" y="359854"/>
                    </a:cubicBezTo>
                    <a:cubicBezTo>
                      <a:pt x="298482" y="359690"/>
                      <a:pt x="300339" y="359439"/>
                      <a:pt x="302196" y="359198"/>
                    </a:cubicBezTo>
                    <a:cubicBezTo>
                      <a:pt x="304512" y="358903"/>
                      <a:pt x="306817" y="358554"/>
                      <a:pt x="309122" y="358139"/>
                    </a:cubicBezTo>
                    <a:cubicBezTo>
                      <a:pt x="311197" y="357767"/>
                      <a:pt x="313262" y="357374"/>
                      <a:pt x="315316" y="356904"/>
                    </a:cubicBezTo>
                    <a:cubicBezTo>
                      <a:pt x="317217" y="356478"/>
                      <a:pt x="319085" y="355954"/>
                      <a:pt x="320964" y="355451"/>
                    </a:cubicBezTo>
                    <a:cubicBezTo>
                      <a:pt x="323225" y="354839"/>
                      <a:pt x="325508" y="354261"/>
                      <a:pt x="327726" y="353550"/>
                    </a:cubicBezTo>
                    <a:lnTo>
                      <a:pt x="327726" y="360498"/>
                    </a:lnTo>
                    <a:cubicBezTo>
                      <a:pt x="327726" y="363393"/>
                      <a:pt x="328873" y="366179"/>
                      <a:pt x="330926" y="368222"/>
                    </a:cubicBezTo>
                    <a:lnTo>
                      <a:pt x="354796" y="392091"/>
                    </a:lnTo>
                    <a:lnTo>
                      <a:pt x="284029" y="445161"/>
                    </a:lnTo>
                    <a:lnTo>
                      <a:pt x="213262" y="392091"/>
                    </a:lnTo>
                    <a:lnTo>
                      <a:pt x="237131" y="368222"/>
                    </a:lnTo>
                    <a:cubicBezTo>
                      <a:pt x="239185" y="366179"/>
                      <a:pt x="240332" y="363393"/>
                      <a:pt x="240332" y="360498"/>
                    </a:cubicBezTo>
                    <a:lnTo>
                      <a:pt x="240332" y="353550"/>
                    </a:lnTo>
                    <a:cubicBezTo>
                      <a:pt x="242550" y="354271"/>
                      <a:pt x="244822" y="354839"/>
                      <a:pt x="247094" y="355451"/>
                    </a:cubicBezTo>
                    <a:close/>
                  </a:path>
                </a:pathLst>
              </a:custGeom>
              <a:solidFill>
                <a:srgbClr val="334886"/>
              </a:solidFill>
              <a:ln w="1086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nvGrpSpPr>
            <p:cNvPr id="55" name="easyIcon">
              <a:extLst>
                <a:ext uri="{FF2B5EF4-FFF2-40B4-BE49-F238E27FC236}">
                  <a16:creationId xmlns:a16="http://schemas.microsoft.com/office/drawing/2014/main" id="{06BE815B-B5F5-AAFB-123A-3F69FD857845}"/>
                </a:ext>
              </a:extLst>
            </p:cNvPr>
            <p:cNvGrpSpPr>
              <a:grpSpLocks noChangeAspect="1"/>
            </p:cNvGrpSpPr>
            <p:nvPr>
              <p:custDataLst>
                <p:tags r:id="rId4"/>
              </p:custDataLst>
            </p:nvPr>
          </p:nvGrpSpPr>
          <p:grpSpPr>
            <a:xfrm>
              <a:off x="3362009" y="3343572"/>
              <a:ext cx="457200" cy="457200"/>
              <a:chOff x="5089567" y="3078947"/>
              <a:chExt cx="714051" cy="714051"/>
            </a:xfrm>
          </p:grpSpPr>
          <p:sp>
            <p:nvSpPr>
              <p:cNvPr id="56" name="Background">
                <a:extLst>
                  <a:ext uri="{FF2B5EF4-FFF2-40B4-BE49-F238E27FC236}">
                    <a16:creationId xmlns:a16="http://schemas.microsoft.com/office/drawing/2014/main" id="{611C9816-3C3C-B180-E759-ACD3007E2F3B}"/>
                  </a:ext>
                </a:extLst>
              </p:cNvPr>
              <p:cNvSpPr/>
              <p:nvPr/>
            </p:nvSpPr>
            <p:spPr>
              <a:xfrm>
                <a:off x="5089567" y="3078947"/>
                <a:ext cx="714051" cy="714051"/>
              </a:xfrm>
              <a:prstGeom prst="rect">
                <a:avLst/>
              </a:prstGeom>
              <a:noFill/>
              <a:ln w="63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Narrow"/>
                  <a:ea typeface="+mn-ea"/>
                  <a:cs typeface="+mn-cs"/>
                </a:endParaRPr>
              </a:p>
            </p:txBody>
          </p:sp>
          <p:pic>
            <p:nvPicPr>
              <p:cNvPr id="57" name="Vector">
                <a:extLst>
                  <a:ext uri="{FF2B5EF4-FFF2-40B4-BE49-F238E27FC236}">
                    <a16:creationId xmlns:a16="http://schemas.microsoft.com/office/drawing/2014/main" id="{3738BAA7-3E6C-C725-6E1E-C6B3D56F5523}"/>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xmlns="" r:embed="rId18"/>
                  </a:ext>
                </a:extLst>
              </a:blip>
              <a:stretch>
                <a:fillRect/>
              </a:stretch>
            </p:blipFill>
            <p:spPr>
              <a:xfrm>
                <a:off x="5194592" y="3183972"/>
                <a:ext cx="504001" cy="504001"/>
              </a:xfrm>
              <a:prstGeom prst="rect">
                <a:avLst/>
              </a:prstGeom>
            </p:spPr>
          </p:pic>
        </p:grpSp>
        <p:grpSp>
          <p:nvGrpSpPr>
            <p:cNvPr id="58" name="easyIcon">
              <a:extLst>
                <a:ext uri="{FF2B5EF4-FFF2-40B4-BE49-F238E27FC236}">
                  <a16:creationId xmlns:a16="http://schemas.microsoft.com/office/drawing/2014/main" id="{82831708-C2B2-3255-4CD7-50E4E4802287}"/>
                </a:ext>
              </a:extLst>
            </p:cNvPr>
            <p:cNvGrpSpPr>
              <a:grpSpLocks noChangeAspect="1"/>
            </p:cNvGrpSpPr>
            <p:nvPr>
              <p:custDataLst>
                <p:tags r:id="rId5"/>
              </p:custDataLst>
            </p:nvPr>
          </p:nvGrpSpPr>
          <p:grpSpPr>
            <a:xfrm>
              <a:off x="2940590" y="3343572"/>
              <a:ext cx="457200" cy="457200"/>
              <a:chOff x="6269194" y="1561784"/>
              <a:chExt cx="714051" cy="714051"/>
            </a:xfrm>
          </p:grpSpPr>
          <p:sp>
            <p:nvSpPr>
              <p:cNvPr id="59" name="Background">
                <a:extLst>
                  <a:ext uri="{FF2B5EF4-FFF2-40B4-BE49-F238E27FC236}">
                    <a16:creationId xmlns:a16="http://schemas.microsoft.com/office/drawing/2014/main" id="{D6B0EB4C-0188-C2A9-54FB-81C5986F50E3}"/>
                  </a:ext>
                </a:extLst>
              </p:cNvPr>
              <p:cNvSpPr/>
              <p:nvPr/>
            </p:nvSpPr>
            <p:spPr>
              <a:xfrm>
                <a:off x="6269194" y="1561784"/>
                <a:ext cx="714051" cy="71405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60" name="Vector">
                <a:extLst>
                  <a:ext uri="{FF2B5EF4-FFF2-40B4-BE49-F238E27FC236}">
                    <a16:creationId xmlns:a16="http://schemas.microsoft.com/office/drawing/2014/main" id="{C8CB10B2-04C8-5198-19AD-AADCF08A8B6A}"/>
                  </a:ext>
                </a:extLst>
              </p:cNvPr>
              <p:cNvSpPr/>
              <p:nvPr/>
            </p:nvSpPr>
            <p:spPr bwMode="gray">
              <a:xfrm>
                <a:off x="6372489" y="1689503"/>
                <a:ext cx="507480" cy="458669"/>
              </a:xfrm>
              <a:custGeom>
                <a:avLst/>
                <a:gdLst>
                  <a:gd name="connsiteX0" fmla="*/ 133634 w 507480"/>
                  <a:gd name="connsiteY0" fmla="*/ 211622 h 458669"/>
                  <a:gd name="connsiteX1" fmla="*/ 28051 w 507480"/>
                  <a:gd name="connsiteY1" fmla="*/ 263174 h 458669"/>
                  <a:gd name="connsiteX2" fmla="*/ 175278 w 507480"/>
                  <a:gd name="connsiteY2" fmla="*/ 334714 h 458669"/>
                  <a:gd name="connsiteX3" fmla="*/ 276598 w 507480"/>
                  <a:gd name="connsiteY3" fmla="*/ 281951 h 458669"/>
                  <a:gd name="connsiteX4" fmla="*/ 288250 w 507480"/>
                  <a:gd name="connsiteY4" fmla="*/ 198342 h 458669"/>
                  <a:gd name="connsiteX5" fmla="*/ 302628 w 507480"/>
                  <a:gd name="connsiteY5" fmla="*/ 203655 h 458669"/>
                  <a:gd name="connsiteX6" fmla="*/ 272866 w 507480"/>
                  <a:gd name="connsiteY6" fmla="*/ 231999 h 458669"/>
                  <a:gd name="connsiteX7" fmla="*/ 231781 w 507480"/>
                  <a:gd name="connsiteY7" fmla="*/ 233110 h 458669"/>
                  <a:gd name="connsiteX8" fmla="*/ 261543 w 507480"/>
                  <a:gd name="connsiteY8" fmla="*/ 204767 h 458669"/>
                  <a:gd name="connsiteX9" fmla="*/ 288250 w 507480"/>
                  <a:gd name="connsiteY9" fmla="*/ 198342 h 458669"/>
                  <a:gd name="connsiteX10" fmla="*/ 36691 w 507480"/>
                  <a:gd name="connsiteY10" fmla="*/ 193478 h 458669"/>
                  <a:gd name="connsiteX11" fmla="*/ 48558 w 507480"/>
                  <a:gd name="connsiteY11" fmla="*/ 195667 h 458669"/>
                  <a:gd name="connsiteX12" fmla="*/ 71828 w 507480"/>
                  <a:gd name="connsiteY12" fmla="*/ 205229 h 458669"/>
                  <a:gd name="connsiteX13" fmla="*/ 78106 w 507480"/>
                  <a:gd name="connsiteY13" fmla="*/ 215538 h 458669"/>
                  <a:gd name="connsiteX14" fmla="*/ 69812 w 507480"/>
                  <a:gd name="connsiteY14" fmla="*/ 222048 h 458669"/>
                  <a:gd name="connsiteX15" fmla="*/ 67796 w 507480"/>
                  <a:gd name="connsiteY15" fmla="*/ 221817 h 458669"/>
                  <a:gd name="connsiteX16" fmla="*/ 34561 w 507480"/>
                  <a:gd name="connsiteY16" fmla="*/ 205343 h 458669"/>
                  <a:gd name="connsiteX17" fmla="*/ 36691 w 507480"/>
                  <a:gd name="connsiteY17" fmla="*/ 193478 h 458669"/>
                  <a:gd name="connsiteX18" fmla="*/ 233858 w 507480"/>
                  <a:gd name="connsiteY18" fmla="*/ 162605 h 458669"/>
                  <a:gd name="connsiteX19" fmla="*/ 153044 w 507480"/>
                  <a:gd name="connsiteY19" fmla="*/ 202118 h 458669"/>
                  <a:gd name="connsiteX20" fmla="*/ 295432 w 507480"/>
                  <a:gd name="connsiteY20" fmla="*/ 272161 h 458669"/>
                  <a:gd name="connsiteX21" fmla="*/ 350902 w 507480"/>
                  <a:gd name="connsiteY21" fmla="*/ 243361 h 458669"/>
                  <a:gd name="connsiteX22" fmla="*/ 362364 w 507480"/>
                  <a:gd name="connsiteY22" fmla="*/ 246989 h 458669"/>
                  <a:gd name="connsiteX23" fmla="*/ 358735 w 507480"/>
                  <a:gd name="connsiteY23" fmla="*/ 258451 h 458669"/>
                  <a:gd name="connsiteX24" fmla="*/ 304073 w 507480"/>
                  <a:gd name="connsiteY24" fmla="*/ 286905 h 458669"/>
                  <a:gd name="connsiteX25" fmla="*/ 304073 w 507480"/>
                  <a:gd name="connsiteY25" fmla="*/ 373536 h 458669"/>
                  <a:gd name="connsiteX26" fmla="*/ 384598 w 507480"/>
                  <a:gd name="connsiteY26" fmla="*/ 331546 h 458669"/>
                  <a:gd name="connsiteX27" fmla="*/ 384598 w 507480"/>
                  <a:gd name="connsiteY27" fmla="*/ 236794 h 458669"/>
                  <a:gd name="connsiteX28" fmla="*/ 37498 w 507480"/>
                  <a:gd name="connsiteY28" fmla="*/ 161452 h 458669"/>
                  <a:gd name="connsiteX29" fmla="*/ 49076 w 507480"/>
                  <a:gd name="connsiteY29" fmla="*/ 164850 h 458669"/>
                  <a:gd name="connsiteX30" fmla="*/ 100743 w 507480"/>
                  <a:gd name="connsiteY30" fmla="*/ 183283 h 458669"/>
                  <a:gd name="connsiteX31" fmla="*/ 107886 w 507480"/>
                  <a:gd name="connsiteY31" fmla="*/ 193018 h 458669"/>
                  <a:gd name="connsiteX32" fmla="*/ 99476 w 507480"/>
                  <a:gd name="connsiteY32" fmla="*/ 200275 h 458669"/>
                  <a:gd name="connsiteX33" fmla="*/ 98209 w 507480"/>
                  <a:gd name="connsiteY33" fmla="*/ 200160 h 458669"/>
                  <a:gd name="connsiteX34" fmla="*/ 34100 w 507480"/>
                  <a:gd name="connsiteY34" fmla="*/ 173030 h 458669"/>
                  <a:gd name="connsiteX35" fmla="*/ 37498 w 507480"/>
                  <a:gd name="connsiteY35" fmla="*/ 161452 h 458669"/>
                  <a:gd name="connsiteX36" fmla="*/ 38074 w 507480"/>
                  <a:gd name="connsiteY36" fmla="*/ 127584 h 458669"/>
                  <a:gd name="connsiteX37" fmla="*/ 49364 w 507480"/>
                  <a:gd name="connsiteY37" fmla="*/ 131846 h 458669"/>
                  <a:gd name="connsiteX38" fmla="*/ 152526 w 507480"/>
                  <a:gd name="connsiteY38" fmla="*/ 159091 h 458669"/>
                  <a:gd name="connsiteX39" fmla="*/ 161050 w 507480"/>
                  <a:gd name="connsiteY39" fmla="*/ 167615 h 458669"/>
                  <a:gd name="connsiteX40" fmla="*/ 152525 w 507480"/>
                  <a:gd name="connsiteY40" fmla="*/ 176141 h 458669"/>
                  <a:gd name="connsiteX41" fmla="*/ 33812 w 507480"/>
                  <a:gd name="connsiteY41" fmla="*/ 138873 h 458669"/>
                  <a:gd name="connsiteX42" fmla="*/ 38074 w 507480"/>
                  <a:gd name="connsiteY42" fmla="*/ 127584 h 458669"/>
                  <a:gd name="connsiteX43" fmla="*/ 342261 w 507480"/>
                  <a:gd name="connsiteY43" fmla="*/ 109613 h 458669"/>
                  <a:gd name="connsiteX44" fmla="*/ 253211 w 507480"/>
                  <a:gd name="connsiteY44" fmla="*/ 153159 h 458669"/>
                  <a:gd name="connsiteX45" fmla="*/ 392489 w 507480"/>
                  <a:gd name="connsiteY45" fmla="*/ 221645 h 458669"/>
                  <a:gd name="connsiteX46" fmla="*/ 479926 w 507480"/>
                  <a:gd name="connsiteY46" fmla="*/ 176141 h 458669"/>
                  <a:gd name="connsiteX47" fmla="*/ 266920 w 507480"/>
                  <a:gd name="connsiteY47" fmla="*/ 95328 h 458669"/>
                  <a:gd name="connsiteX48" fmla="*/ 271183 w 507480"/>
                  <a:gd name="connsiteY48" fmla="*/ 106617 h 458669"/>
                  <a:gd name="connsiteX49" fmla="*/ 152527 w 507480"/>
                  <a:gd name="connsiteY49" fmla="*/ 143885 h 458669"/>
                  <a:gd name="connsiteX50" fmla="*/ 33812 w 507480"/>
                  <a:gd name="connsiteY50" fmla="*/ 106618 h 458669"/>
                  <a:gd name="connsiteX51" fmla="*/ 38074 w 507480"/>
                  <a:gd name="connsiteY51" fmla="*/ 95385 h 458669"/>
                  <a:gd name="connsiteX52" fmla="*/ 49364 w 507480"/>
                  <a:gd name="connsiteY52" fmla="*/ 99648 h 458669"/>
                  <a:gd name="connsiteX53" fmla="*/ 152526 w 507480"/>
                  <a:gd name="connsiteY53" fmla="*/ 126835 h 458669"/>
                  <a:gd name="connsiteX54" fmla="*/ 255630 w 507480"/>
                  <a:gd name="connsiteY54" fmla="*/ 99648 h 458669"/>
                  <a:gd name="connsiteX55" fmla="*/ 266920 w 507480"/>
                  <a:gd name="connsiteY55" fmla="*/ 95328 h 458669"/>
                  <a:gd name="connsiteX56" fmla="*/ 338517 w 507480"/>
                  <a:gd name="connsiteY56" fmla="*/ 92505 h 458669"/>
                  <a:gd name="connsiteX57" fmla="*/ 345947 w 507480"/>
                  <a:gd name="connsiteY57" fmla="*/ 92506 h 458669"/>
                  <a:gd name="connsiteX58" fmla="*/ 502620 w 507480"/>
                  <a:gd name="connsiteY58" fmla="*/ 168134 h 458669"/>
                  <a:gd name="connsiteX59" fmla="*/ 507458 w 507480"/>
                  <a:gd name="connsiteY59" fmla="*/ 175738 h 458669"/>
                  <a:gd name="connsiteX60" fmla="*/ 502850 w 507480"/>
                  <a:gd name="connsiteY60" fmla="*/ 183399 h 458669"/>
                  <a:gd name="connsiteX61" fmla="*/ 401705 w 507480"/>
                  <a:gd name="connsiteY61" fmla="*/ 236103 h 458669"/>
                  <a:gd name="connsiteX62" fmla="*/ 401705 w 507480"/>
                  <a:gd name="connsiteY62" fmla="*/ 251942 h 458669"/>
                  <a:gd name="connsiteX63" fmla="*/ 494960 w 507480"/>
                  <a:gd name="connsiteY63" fmla="*/ 203386 h 458669"/>
                  <a:gd name="connsiteX64" fmla="*/ 506480 w 507480"/>
                  <a:gd name="connsiteY64" fmla="*/ 206956 h 458669"/>
                  <a:gd name="connsiteX65" fmla="*/ 502850 w 507480"/>
                  <a:gd name="connsiteY65" fmla="*/ 218476 h 458669"/>
                  <a:gd name="connsiteX66" fmla="*/ 401705 w 507480"/>
                  <a:gd name="connsiteY66" fmla="*/ 271180 h 458669"/>
                  <a:gd name="connsiteX67" fmla="*/ 401705 w 507480"/>
                  <a:gd name="connsiteY67" fmla="*/ 287943 h 458669"/>
                  <a:gd name="connsiteX68" fmla="*/ 494959 w 507480"/>
                  <a:gd name="connsiteY68" fmla="*/ 239327 h 458669"/>
                  <a:gd name="connsiteX69" fmla="*/ 506479 w 507480"/>
                  <a:gd name="connsiteY69" fmla="*/ 242957 h 458669"/>
                  <a:gd name="connsiteX70" fmla="*/ 502851 w 507480"/>
                  <a:gd name="connsiteY70" fmla="*/ 254477 h 458669"/>
                  <a:gd name="connsiteX71" fmla="*/ 401705 w 507480"/>
                  <a:gd name="connsiteY71" fmla="*/ 307066 h 458669"/>
                  <a:gd name="connsiteX72" fmla="*/ 401705 w 507480"/>
                  <a:gd name="connsiteY72" fmla="*/ 322791 h 458669"/>
                  <a:gd name="connsiteX73" fmla="*/ 494959 w 507480"/>
                  <a:gd name="connsiteY73" fmla="*/ 274119 h 458669"/>
                  <a:gd name="connsiteX74" fmla="*/ 506480 w 507480"/>
                  <a:gd name="connsiteY74" fmla="*/ 277747 h 458669"/>
                  <a:gd name="connsiteX75" fmla="*/ 502850 w 507480"/>
                  <a:gd name="connsiteY75" fmla="*/ 289210 h 458669"/>
                  <a:gd name="connsiteX76" fmla="*/ 397096 w 507480"/>
                  <a:gd name="connsiteY76" fmla="*/ 344333 h 458669"/>
                  <a:gd name="connsiteX77" fmla="*/ 179309 w 507480"/>
                  <a:gd name="connsiteY77" fmla="*/ 457632 h 458669"/>
                  <a:gd name="connsiteX78" fmla="*/ 175393 w 507480"/>
                  <a:gd name="connsiteY78" fmla="*/ 458669 h 458669"/>
                  <a:gd name="connsiteX79" fmla="*/ 171649 w 507480"/>
                  <a:gd name="connsiteY79" fmla="*/ 457805 h 458669"/>
                  <a:gd name="connsiteX80" fmla="*/ 4840 w 507480"/>
                  <a:gd name="connsiteY80" fmla="*/ 376819 h 458669"/>
                  <a:gd name="connsiteX81" fmla="*/ 864 w 507480"/>
                  <a:gd name="connsiteY81" fmla="*/ 365415 h 458669"/>
                  <a:gd name="connsiteX82" fmla="*/ 12270 w 507480"/>
                  <a:gd name="connsiteY82" fmla="*/ 361441 h 458669"/>
                  <a:gd name="connsiteX83" fmla="*/ 175277 w 507480"/>
                  <a:gd name="connsiteY83" fmla="*/ 440525 h 458669"/>
                  <a:gd name="connsiteX84" fmla="*/ 286965 w 507480"/>
                  <a:gd name="connsiteY84" fmla="*/ 382349 h 458669"/>
                  <a:gd name="connsiteX85" fmla="*/ 286965 w 507480"/>
                  <a:gd name="connsiteY85" fmla="*/ 366739 h 458669"/>
                  <a:gd name="connsiteX86" fmla="*/ 179309 w 507480"/>
                  <a:gd name="connsiteY86" fmla="*/ 422784 h 458669"/>
                  <a:gd name="connsiteX87" fmla="*/ 175393 w 507480"/>
                  <a:gd name="connsiteY87" fmla="*/ 423821 h 458669"/>
                  <a:gd name="connsiteX88" fmla="*/ 171649 w 507480"/>
                  <a:gd name="connsiteY88" fmla="*/ 422900 h 458669"/>
                  <a:gd name="connsiteX89" fmla="*/ 4840 w 507480"/>
                  <a:gd name="connsiteY89" fmla="*/ 341914 h 458669"/>
                  <a:gd name="connsiteX90" fmla="*/ 864 w 507480"/>
                  <a:gd name="connsiteY90" fmla="*/ 330567 h 458669"/>
                  <a:gd name="connsiteX91" fmla="*/ 12270 w 507480"/>
                  <a:gd name="connsiteY91" fmla="*/ 326591 h 458669"/>
                  <a:gd name="connsiteX92" fmla="*/ 175277 w 507480"/>
                  <a:gd name="connsiteY92" fmla="*/ 405677 h 458669"/>
                  <a:gd name="connsiteX93" fmla="*/ 286966 w 507480"/>
                  <a:gd name="connsiteY93" fmla="*/ 347502 h 458669"/>
                  <a:gd name="connsiteX94" fmla="*/ 286966 w 507480"/>
                  <a:gd name="connsiteY94" fmla="*/ 330739 h 458669"/>
                  <a:gd name="connsiteX95" fmla="*/ 179310 w 507480"/>
                  <a:gd name="connsiteY95" fmla="*/ 386899 h 458669"/>
                  <a:gd name="connsiteX96" fmla="*/ 175394 w 507480"/>
                  <a:gd name="connsiteY96" fmla="*/ 387821 h 458669"/>
                  <a:gd name="connsiteX97" fmla="*/ 171649 w 507480"/>
                  <a:gd name="connsiteY97" fmla="*/ 387015 h 458669"/>
                  <a:gd name="connsiteX98" fmla="*/ 4840 w 507480"/>
                  <a:gd name="connsiteY98" fmla="*/ 305914 h 458669"/>
                  <a:gd name="connsiteX99" fmla="*/ 864 w 507480"/>
                  <a:gd name="connsiteY99" fmla="*/ 294566 h 458669"/>
                  <a:gd name="connsiteX100" fmla="*/ 12212 w 507480"/>
                  <a:gd name="connsiteY100" fmla="*/ 290650 h 458669"/>
                  <a:gd name="connsiteX101" fmla="*/ 175221 w 507480"/>
                  <a:gd name="connsiteY101" fmla="*/ 369850 h 458669"/>
                  <a:gd name="connsiteX102" fmla="*/ 286907 w 507480"/>
                  <a:gd name="connsiteY102" fmla="*/ 311673 h 458669"/>
                  <a:gd name="connsiteX103" fmla="*/ 286907 w 507480"/>
                  <a:gd name="connsiteY103" fmla="*/ 295776 h 458669"/>
                  <a:gd name="connsiteX104" fmla="*/ 179253 w 507480"/>
                  <a:gd name="connsiteY104" fmla="*/ 351820 h 458669"/>
                  <a:gd name="connsiteX105" fmla="*/ 175335 w 507480"/>
                  <a:gd name="connsiteY105" fmla="*/ 352858 h 458669"/>
                  <a:gd name="connsiteX106" fmla="*/ 171591 w 507480"/>
                  <a:gd name="connsiteY106" fmla="*/ 351936 h 458669"/>
                  <a:gd name="connsiteX107" fmla="*/ 4782 w 507480"/>
                  <a:gd name="connsiteY107" fmla="*/ 270951 h 458669"/>
                  <a:gd name="connsiteX108" fmla="*/ 1 w 507480"/>
                  <a:gd name="connsiteY108" fmla="*/ 263289 h 458669"/>
                  <a:gd name="connsiteX109" fmla="*/ 4782 w 507480"/>
                  <a:gd name="connsiteY109" fmla="*/ 255629 h 458669"/>
                  <a:gd name="connsiteX110" fmla="*/ 152468 w 507480"/>
                  <a:gd name="connsiteY110" fmla="*/ 16992 h 458669"/>
                  <a:gd name="connsiteX111" fmla="*/ 48788 w 507480"/>
                  <a:gd name="connsiteY111" fmla="*/ 56967 h 458669"/>
                  <a:gd name="connsiteX112" fmla="*/ 152468 w 507480"/>
                  <a:gd name="connsiteY112" fmla="*/ 96942 h 458669"/>
                  <a:gd name="connsiteX113" fmla="*/ 256149 w 507480"/>
                  <a:gd name="connsiteY113" fmla="*/ 56966 h 458669"/>
                  <a:gd name="connsiteX114" fmla="*/ 152468 w 507480"/>
                  <a:gd name="connsiteY114" fmla="*/ 16992 h 458669"/>
                  <a:gd name="connsiteX115" fmla="*/ 152468 w 507480"/>
                  <a:gd name="connsiteY115" fmla="*/ 0 h 458669"/>
                  <a:gd name="connsiteX116" fmla="*/ 273257 w 507480"/>
                  <a:gd name="connsiteY116" fmla="*/ 57025 h 458669"/>
                  <a:gd name="connsiteX117" fmla="*/ 152468 w 507480"/>
                  <a:gd name="connsiteY117" fmla="*/ 114048 h 458669"/>
                  <a:gd name="connsiteX118" fmla="*/ 31738 w 507480"/>
                  <a:gd name="connsiteY118" fmla="*/ 57024 h 458669"/>
                  <a:gd name="connsiteX119" fmla="*/ 152468 w 507480"/>
                  <a:gd name="connsiteY119" fmla="*/ 0 h 45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507480" h="458669">
                    <a:moveTo>
                      <a:pt x="133634" y="211622"/>
                    </a:moveTo>
                    <a:lnTo>
                      <a:pt x="28051" y="263174"/>
                    </a:lnTo>
                    <a:lnTo>
                      <a:pt x="175278" y="334714"/>
                    </a:lnTo>
                    <a:lnTo>
                      <a:pt x="276598" y="281951"/>
                    </a:lnTo>
                    <a:close/>
                    <a:moveTo>
                      <a:pt x="288250" y="198342"/>
                    </a:moveTo>
                    <a:cubicBezTo>
                      <a:pt x="295685" y="198140"/>
                      <a:pt x="301065" y="199896"/>
                      <a:pt x="302628" y="203655"/>
                    </a:cubicBezTo>
                    <a:cubicBezTo>
                      <a:pt x="305755" y="211176"/>
                      <a:pt x="292430" y="223866"/>
                      <a:pt x="272866" y="231999"/>
                    </a:cubicBezTo>
                    <a:cubicBezTo>
                      <a:pt x="253302" y="240133"/>
                      <a:pt x="234907" y="240631"/>
                      <a:pt x="231781" y="233110"/>
                    </a:cubicBezTo>
                    <a:cubicBezTo>
                      <a:pt x="228655" y="225591"/>
                      <a:pt x="241980" y="212901"/>
                      <a:pt x="261543" y="204767"/>
                    </a:cubicBezTo>
                    <a:cubicBezTo>
                      <a:pt x="271326" y="200701"/>
                      <a:pt x="280815" y="198542"/>
                      <a:pt x="288250" y="198342"/>
                    </a:cubicBezTo>
                    <a:close/>
                    <a:moveTo>
                      <a:pt x="36691" y="193478"/>
                    </a:moveTo>
                    <a:cubicBezTo>
                      <a:pt x="40610" y="190829"/>
                      <a:pt x="45908" y="191750"/>
                      <a:pt x="48558" y="195667"/>
                    </a:cubicBezTo>
                    <a:cubicBezTo>
                      <a:pt x="48731" y="195840"/>
                      <a:pt x="52129" y="200448"/>
                      <a:pt x="71828" y="205229"/>
                    </a:cubicBezTo>
                    <a:cubicBezTo>
                      <a:pt x="76436" y="206381"/>
                      <a:pt x="79258" y="210989"/>
                      <a:pt x="78106" y="215538"/>
                    </a:cubicBezTo>
                    <a:cubicBezTo>
                      <a:pt x="77127" y="219456"/>
                      <a:pt x="73613" y="222048"/>
                      <a:pt x="69812" y="222048"/>
                    </a:cubicBezTo>
                    <a:cubicBezTo>
                      <a:pt x="69120" y="222048"/>
                      <a:pt x="68487" y="221990"/>
                      <a:pt x="67796" y="221817"/>
                    </a:cubicBezTo>
                    <a:cubicBezTo>
                      <a:pt x="50112" y="217555"/>
                      <a:pt x="39227" y="212140"/>
                      <a:pt x="34561" y="205343"/>
                    </a:cubicBezTo>
                    <a:cubicBezTo>
                      <a:pt x="31854" y="201484"/>
                      <a:pt x="32833" y="196127"/>
                      <a:pt x="36691" y="193478"/>
                    </a:cubicBezTo>
                    <a:close/>
                    <a:moveTo>
                      <a:pt x="233858" y="162605"/>
                    </a:moveTo>
                    <a:lnTo>
                      <a:pt x="153044" y="202118"/>
                    </a:lnTo>
                    <a:lnTo>
                      <a:pt x="295432" y="272161"/>
                    </a:lnTo>
                    <a:lnTo>
                      <a:pt x="350902" y="243361"/>
                    </a:lnTo>
                    <a:cubicBezTo>
                      <a:pt x="355049" y="241171"/>
                      <a:pt x="360175" y="242784"/>
                      <a:pt x="362364" y="246989"/>
                    </a:cubicBezTo>
                    <a:cubicBezTo>
                      <a:pt x="364495" y="251194"/>
                      <a:pt x="362882" y="256319"/>
                      <a:pt x="358735" y="258451"/>
                    </a:cubicBezTo>
                    <a:lnTo>
                      <a:pt x="304073" y="286905"/>
                    </a:lnTo>
                    <a:lnTo>
                      <a:pt x="304073" y="373536"/>
                    </a:lnTo>
                    <a:lnTo>
                      <a:pt x="384598" y="331546"/>
                    </a:lnTo>
                    <a:lnTo>
                      <a:pt x="384598" y="236794"/>
                    </a:lnTo>
                    <a:close/>
                    <a:moveTo>
                      <a:pt x="37498" y="161452"/>
                    </a:moveTo>
                    <a:cubicBezTo>
                      <a:pt x="41645" y="159206"/>
                      <a:pt x="46772" y="160704"/>
                      <a:pt x="49076" y="164850"/>
                    </a:cubicBezTo>
                    <a:cubicBezTo>
                      <a:pt x="51265" y="168883"/>
                      <a:pt x="64916" y="177926"/>
                      <a:pt x="100743" y="183283"/>
                    </a:cubicBezTo>
                    <a:cubicBezTo>
                      <a:pt x="105408" y="183974"/>
                      <a:pt x="108577" y="188352"/>
                      <a:pt x="107886" y="193018"/>
                    </a:cubicBezTo>
                    <a:cubicBezTo>
                      <a:pt x="107251" y="197280"/>
                      <a:pt x="103623" y="200275"/>
                      <a:pt x="99476" y="200275"/>
                    </a:cubicBezTo>
                    <a:cubicBezTo>
                      <a:pt x="99015" y="200275"/>
                      <a:pt x="98612" y="200218"/>
                      <a:pt x="98209" y="200160"/>
                    </a:cubicBezTo>
                    <a:cubicBezTo>
                      <a:pt x="73729" y="196474"/>
                      <a:pt x="42741" y="188812"/>
                      <a:pt x="34100" y="173030"/>
                    </a:cubicBezTo>
                    <a:cubicBezTo>
                      <a:pt x="31796" y="168940"/>
                      <a:pt x="33352" y="163699"/>
                      <a:pt x="37498" y="161452"/>
                    </a:cubicBezTo>
                    <a:close/>
                    <a:moveTo>
                      <a:pt x="38074" y="127584"/>
                    </a:moveTo>
                    <a:cubicBezTo>
                      <a:pt x="42337" y="125626"/>
                      <a:pt x="47405" y="127584"/>
                      <a:pt x="49364" y="131846"/>
                    </a:cubicBezTo>
                    <a:cubicBezTo>
                      <a:pt x="55297" y="144979"/>
                      <a:pt x="96423" y="159091"/>
                      <a:pt x="152526" y="159091"/>
                    </a:cubicBezTo>
                    <a:cubicBezTo>
                      <a:pt x="157249" y="159091"/>
                      <a:pt x="161050" y="162892"/>
                      <a:pt x="161050" y="167615"/>
                    </a:cubicBezTo>
                    <a:cubicBezTo>
                      <a:pt x="161050" y="172339"/>
                      <a:pt x="157191" y="176141"/>
                      <a:pt x="152525" y="176141"/>
                    </a:cubicBezTo>
                    <a:cubicBezTo>
                      <a:pt x="103451" y="176141"/>
                      <a:pt x="45389" y="164448"/>
                      <a:pt x="33812" y="138873"/>
                    </a:cubicBezTo>
                    <a:cubicBezTo>
                      <a:pt x="31853" y="134553"/>
                      <a:pt x="33755" y="129542"/>
                      <a:pt x="38074" y="127584"/>
                    </a:cubicBezTo>
                    <a:close/>
                    <a:moveTo>
                      <a:pt x="342261" y="109613"/>
                    </a:moveTo>
                    <a:lnTo>
                      <a:pt x="253211" y="153159"/>
                    </a:lnTo>
                    <a:lnTo>
                      <a:pt x="392489" y="221645"/>
                    </a:lnTo>
                    <a:lnTo>
                      <a:pt x="479926" y="176141"/>
                    </a:lnTo>
                    <a:close/>
                    <a:moveTo>
                      <a:pt x="266920" y="95328"/>
                    </a:moveTo>
                    <a:cubicBezTo>
                      <a:pt x="271183" y="97229"/>
                      <a:pt x="273142" y="102298"/>
                      <a:pt x="271183" y="106617"/>
                    </a:cubicBezTo>
                    <a:cubicBezTo>
                      <a:pt x="259720" y="132191"/>
                      <a:pt x="201601" y="143885"/>
                      <a:pt x="152527" y="143885"/>
                    </a:cubicBezTo>
                    <a:cubicBezTo>
                      <a:pt x="103451" y="143885"/>
                      <a:pt x="45390" y="132192"/>
                      <a:pt x="33812" y="106618"/>
                    </a:cubicBezTo>
                    <a:cubicBezTo>
                      <a:pt x="31853" y="102355"/>
                      <a:pt x="33755" y="97286"/>
                      <a:pt x="38074" y="95385"/>
                    </a:cubicBezTo>
                    <a:cubicBezTo>
                      <a:pt x="42336" y="93427"/>
                      <a:pt x="47405" y="95328"/>
                      <a:pt x="49364" y="99648"/>
                    </a:cubicBezTo>
                    <a:cubicBezTo>
                      <a:pt x="55297" y="112724"/>
                      <a:pt x="96423" y="126835"/>
                      <a:pt x="152526" y="126835"/>
                    </a:cubicBezTo>
                    <a:cubicBezTo>
                      <a:pt x="208686" y="126835"/>
                      <a:pt x="249755" y="112723"/>
                      <a:pt x="255630" y="99648"/>
                    </a:cubicBezTo>
                    <a:cubicBezTo>
                      <a:pt x="257589" y="95328"/>
                      <a:pt x="262601" y="93427"/>
                      <a:pt x="266920" y="95328"/>
                    </a:cubicBezTo>
                    <a:close/>
                    <a:moveTo>
                      <a:pt x="338517" y="92505"/>
                    </a:moveTo>
                    <a:cubicBezTo>
                      <a:pt x="340879" y="91410"/>
                      <a:pt x="343643" y="91353"/>
                      <a:pt x="345947" y="92506"/>
                    </a:cubicBezTo>
                    <a:lnTo>
                      <a:pt x="502620" y="168134"/>
                    </a:lnTo>
                    <a:cubicBezTo>
                      <a:pt x="505558" y="169575"/>
                      <a:pt x="507401" y="172512"/>
                      <a:pt x="507458" y="175738"/>
                    </a:cubicBezTo>
                    <a:cubicBezTo>
                      <a:pt x="507516" y="178964"/>
                      <a:pt x="505788" y="181958"/>
                      <a:pt x="502850" y="183399"/>
                    </a:cubicBezTo>
                    <a:lnTo>
                      <a:pt x="401705" y="236103"/>
                    </a:lnTo>
                    <a:lnTo>
                      <a:pt x="401705" y="251942"/>
                    </a:lnTo>
                    <a:lnTo>
                      <a:pt x="494960" y="203386"/>
                    </a:lnTo>
                    <a:cubicBezTo>
                      <a:pt x="499222" y="201197"/>
                      <a:pt x="504348" y="202810"/>
                      <a:pt x="506480" y="206956"/>
                    </a:cubicBezTo>
                    <a:cubicBezTo>
                      <a:pt x="508725" y="211161"/>
                      <a:pt x="507056" y="216288"/>
                      <a:pt x="502850" y="218476"/>
                    </a:cubicBezTo>
                    <a:lnTo>
                      <a:pt x="401705" y="271180"/>
                    </a:lnTo>
                    <a:lnTo>
                      <a:pt x="401705" y="287943"/>
                    </a:lnTo>
                    <a:lnTo>
                      <a:pt x="494959" y="239327"/>
                    </a:lnTo>
                    <a:cubicBezTo>
                      <a:pt x="499163" y="237140"/>
                      <a:pt x="504290" y="238810"/>
                      <a:pt x="506479" y="242957"/>
                    </a:cubicBezTo>
                    <a:cubicBezTo>
                      <a:pt x="508726" y="247162"/>
                      <a:pt x="507055" y="252288"/>
                      <a:pt x="502851" y="254477"/>
                    </a:cubicBezTo>
                    <a:lnTo>
                      <a:pt x="401705" y="307066"/>
                    </a:lnTo>
                    <a:lnTo>
                      <a:pt x="401705" y="322791"/>
                    </a:lnTo>
                    <a:lnTo>
                      <a:pt x="494959" y="274119"/>
                    </a:lnTo>
                    <a:cubicBezTo>
                      <a:pt x="499164" y="271872"/>
                      <a:pt x="504233" y="273600"/>
                      <a:pt x="506480" y="277747"/>
                    </a:cubicBezTo>
                    <a:cubicBezTo>
                      <a:pt x="508725" y="281895"/>
                      <a:pt x="507055" y="287079"/>
                      <a:pt x="502850" y="289210"/>
                    </a:cubicBezTo>
                    <a:lnTo>
                      <a:pt x="397096" y="344333"/>
                    </a:lnTo>
                    <a:lnTo>
                      <a:pt x="179309" y="457632"/>
                    </a:lnTo>
                    <a:cubicBezTo>
                      <a:pt x="178100" y="458323"/>
                      <a:pt x="176718" y="458669"/>
                      <a:pt x="175393" y="458669"/>
                    </a:cubicBezTo>
                    <a:cubicBezTo>
                      <a:pt x="174125" y="458669"/>
                      <a:pt x="172859" y="458496"/>
                      <a:pt x="171649" y="457805"/>
                    </a:cubicBezTo>
                    <a:lnTo>
                      <a:pt x="4840" y="376819"/>
                    </a:lnTo>
                    <a:cubicBezTo>
                      <a:pt x="576" y="374745"/>
                      <a:pt x="-1209" y="369677"/>
                      <a:pt x="864" y="365415"/>
                    </a:cubicBezTo>
                    <a:cubicBezTo>
                      <a:pt x="2938" y="361152"/>
                      <a:pt x="8065" y="359482"/>
                      <a:pt x="12270" y="361441"/>
                    </a:cubicBezTo>
                    <a:lnTo>
                      <a:pt x="175277" y="440525"/>
                    </a:lnTo>
                    <a:lnTo>
                      <a:pt x="286965" y="382349"/>
                    </a:lnTo>
                    <a:lnTo>
                      <a:pt x="286965" y="366739"/>
                    </a:lnTo>
                    <a:lnTo>
                      <a:pt x="179309" y="422784"/>
                    </a:lnTo>
                    <a:cubicBezTo>
                      <a:pt x="178100" y="423475"/>
                      <a:pt x="176717" y="423822"/>
                      <a:pt x="175393" y="423821"/>
                    </a:cubicBezTo>
                    <a:cubicBezTo>
                      <a:pt x="174126" y="423822"/>
                      <a:pt x="172859" y="423475"/>
                      <a:pt x="171649" y="422900"/>
                    </a:cubicBezTo>
                    <a:lnTo>
                      <a:pt x="4840" y="341914"/>
                    </a:lnTo>
                    <a:cubicBezTo>
                      <a:pt x="577" y="339898"/>
                      <a:pt x="-1152" y="334714"/>
                      <a:pt x="864" y="330567"/>
                    </a:cubicBezTo>
                    <a:cubicBezTo>
                      <a:pt x="2938" y="326304"/>
                      <a:pt x="8065" y="324461"/>
                      <a:pt x="12270" y="326591"/>
                    </a:cubicBezTo>
                    <a:lnTo>
                      <a:pt x="175277" y="405677"/>
                    </a:lnTo>
                    <a:lnTo>
                      <a:pt x="286966" y="347502"/>
                    </a:lnTo>
                    <a:lnTo>
                      <a:pt x="286966" y="330739"/>
                    </a:lnTo>
                    <a:lnTo>
                      <a:pt x="179310" y="386899"/>
                    </a:lnTo>
                    <a:cubicBezTo>
                      <a:pt x="178100" y="387475"/>
                      <a:pt x="176718" y="387821"/>
                      <a:pt x="175394" y="387821"/>
                    </a:cubicBezTo>
                    <a:cubicBezTo>
                      <a:pt x="174125" y="387821"/>
                      <a:pt x="172859" y="387591"/>
                      <a:pt x="171649" y="387015"/>
                    </a:cubicBezTo>
                    <a:lnTo>
                      <a:pt x="4840" y="305914"/>
                    </a:lnTo>
                    <a:cubicBezTo>
                      <a:pt x="576" y="303898"/>
                      <a:pt x="-1152" y="298829"/>
                      <a:pt x="864" y="294566"/>
                    </a:cubicBezTo>
                    <a:cubicBezTo>
                      <a:pt x="2938" y="290419"/>
                      <a:pt x="8065" y="288576"/>
                      <a:pt x="12212" y="290650"/>
                    </a:cubicBezTo>
                    <a:lnTo>
                      <a:pt x="175221" y="369850"/>
                    </a:lnTo>
                    <a:lnTo>
                      <a:pt x="286907" y="311673"/>
                    </a:lnTo>
                    <a:lnTo>
                      <a:pt x="286907" y="295776"/>
                    </a:lnTo>
                    <a:lnTo>
                      <a:pt x="179253" y="351820"/>
                    </a:lnTo>
                    <a:cubicBezTo>
                      <a:pt x="178043" y="352512"/>
                      <a:pt x="176661" y="352858"/>
                      <a:pt x="175335" y="352858"/>
                    </a:cubicBezTo>
                    <a:cubicBezTo>
                      <a:pt x="174068" y="352858"/>
                      <a:pt x="172801" y="352512"/>
                      <a:pt x="171591" y="351936"/>
                    </a:cubicBezTo>
                    <a:lnTo>
                      <a:pt x="4782" y="270951"/>
                    </a:lnTo>
                    <a:cubicBezTo>
                      <a:pt x="1902" y="269453"/>
                      <a:pt x="1" y="266573"/>
                      <a:pt x="1" y="263289"/>
                    </a:cubicBezTo>
                    <a:cubicBezTo>
                      <a:pt x="1" y="260007"/>
                      <a:pt x="1844" y="257011"/>
                      <a:pt x="4782" y="255629"/>
                    </a:cubicBezTo>
                    <a:close/>
                    <a:moveTo>
                      <a:pt x="152468" y="16992"/>
                    </a:moveTo>
                    <a:cubicBezTo>
                      <a:pt x="91412" y="16993"/>
                      <a:pt x="48788" y="38074"/>
                      <a:pt x="48788" y="56967"/>
                    </a:cubicBezTo>
                    <a:cubicBezTo>
                      <a:pt x="48788" y="75859"/>
                      <a:pt x="91354" y="96942"/>
                      <a:pt x="152468" y="96942"/>
                    </a:cubicBezTo>
                    <a:cubicBezTo>
                      <a:pt x="213582" y="96941"/>
                      <a:pt x="256149" y="75859"/>
                      <a:pt x="256149" y="56966"/>
                    </a:cubicBezTo>
                    <a:cubicBezTo>
                      <a:pt x="256148" y="38074"/>
                      <a:pt x="213582" y="16993"/>
                      <a:pt x="152468" y="16992"/>
                    </a:cubicBezTo>
                    <a:close/>
                    <a:moveTo>
                      <a:pt x="152468" y="0"/>
                    </a:moveTo>
                    <a:cubicBezTo>
                      <a:pt x="221358" y="0"/>
                      <a:pt x="273256" y="24538"/>
                      <a:pt x="273257" y="57025"/>
                    </a:cubicBezTo>
                    <a:cubicBezTo>
                      <a:pt x="273257" y="89511"/>
                      <a:pt x="221301" y="114048"/>
                      <a:pt x="152468" y="114048"/>
                    </a:cubicBezTo>
                    <a:cubicBezTo>
                      <a:pt x="83636" y="114048"/>
                      <a:pt x="31738" y="89511"/>
                      <a:pt x="31738" y="57024"/>
                    </a:cubicBezTo>
                    <a:cubicBezTo>
                      <a:pt x="31738" y="24538"/>
                      <a:pt x="83636" y="0"/>
                      <a:pt x="152468" y="0"/>
                    </a:cubicBezTo>
                    <a:close/>
                  </a:path>
                </a:pathLst>
              </a:custGeom>
              <a:solidFill>
                <a:srgbClr val="33488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grpSp>
        <p:sp>
          <p:nvSpPr>
            <p:cNvPr id="33" name="Oval 32">
              <a:extLst>
                <a:ext uri="{FF2B5EF4-FFF2-40B4-BE49-F238E27FC236}">
                  <a16:creationId xmlns:a16="http://schemas.microsoft.com/office/drawing/2014/main" id="{E7EC5E8E-006F-4E65-81BF-0E211E2BBE8A}"/>
                </a:ext>
              </a:extLst>
            </p:cNvPr>
            <p:cNvSpPr/>
            <p:nvPr/>
          </p:nvSpPr>
          <p:spPr>
            <a:xfrm>
              <a:off x="458029" y="3959893"/>
              <a:ext cx="1828800" cy="1828800"/>
            </a:xfrm>
            <a:prstGeom prst="ellipse">
              <a:avLst/>
            </a:prstGeom>
            <a:solidFill>
              <a:srgbClr val="FFFFFF"/>
            </a:solidFill>
            <a:ln w="19050" cmpd="sng">
              <a:solidFill>
                <a:srgbClr val="23417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34" name="Freeform: Shape 33">
              <a:extLst>
                <a:ext uri="{FF2B5EF4-FFF2-40B4-BE49-F238E27FC236}">
                  <a16:creationId xmlns:a16="http://schemas.microsoft.com/office/drawing/2014/main" id="{F83127BB-9519-78FA-31C7-D1119F2C6CBC}"/>
                </a:ext>
              </a:extLst>
            </p:cNvPr>
            <p:cNvSpPr/>
            <p:nvPr/>
          </p:nvSpPr>
          <p:spPr>
            <a:xfrm>
              <a:off x="652276" y="4028983"/>
              <a:ext cx="1440306" cy="407525"/>
            </a:xfrm>
            <a:custGeom>
              <a:avLst/>
              <a:gdLst>
                <a:gd name="connsiteX0" fmla="*/ 720153 w 1440306"/>
                <a:gd name="connsiteY0" fmla="*/ 0 h 407525"/>
                <a:gd name="connsiteX1" fmla="*/ 1421520 w 1440306"/>
                <a:gd name="connsiteY1" fmla="*/ 372914 h 407525"/>
                <a:gd name="connsiteX2" fmla="*/ 1440306 w 1440306"/>
                <a:gd name="connsiteY2" fmla="*/ 407525 h 407525"/>
                <a:gd name="connsiteX3" fmla="*/ 0 w 1440306"/>
                <a:gd name="connsiteY3" fmla="*/ 407525 h 407525"/>
                <a:gd name="connsiteX4" fmla="*/ 18786 w 1440306"/>
                <a:gd name="connsiteY4" fmla="*/ 372914 h 407525"/>
                <a:gd name="connsiteX5" fmla="*/ 720153 w 1440306"/>
                <a:gd name="connsiteY5" fmla="*/ 0 h 40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0306" h="407525">
                  <a:moveTo>
                    <a:pt x="720153" y="0"/>
                  </a:moveTo>
                  <a:cubicBezTo>
                    <a:pt x="1012111" y="0"/>
                    <a:pt x="1269520" y="147925"/>
                    <a:pt x="1421520" y="372914"/>
                  </a:cubicBezTo>
                  <a:lnTo>
                    <a:pt x="1440306" y="407525"/>
                  </a:lnTo>
                  <a:lnTo>
                    <a:pt x="0" y="407525"/>
                  </a:lnTo>
                  <a:lnTo>
                    <a:pt x="18786" y="372914"/>
                  </a:lnTo>
                  <a:cubicBezTo>
                    <a:pt x="170786" y="147925"/>
                    <a:pt x="428195" y="0"/>
                    <a:pt x="720153" y="0"/>
                  </a:cubicBezTo>
                  <a:close/>
                </a:path>
              </a:pathLst>
            </a:custGeom>
            <a:solidFill>
              <a:srgbClr val="00AEEF"/>
            </a:solidFill>
            <a:ln>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Narrow"/>
                  <a:ea typeface="+mn-ea"/>
                  <a:cs typeface="+mn-cs"/>
                </a:rPr>
                <a:t>INDIRECT EFFECTS</a:t>
              </a:r>
            </a:p>
          </p:txBody>
        </p:sp>
        <p:sp>
          <p:nvSpPr>
            <p:cNvPr id="49" name="Textbox">
              <a:extLst>
                <a:ext uri="{FF2B5EF4-FFF2-40B4-BE49-F238E27FC236}">
                  <a16:creationId xmlns:a16="http://schemas.microsoft.com/office/drawing/2014/main" id="{EB0CD556-F34C-73A6-D0E4-6E30A80DB435}"/>
                </a:ext>
              </a:extLst>
            </p:cNvPr>
            <p:cNvSpPr txBox="1">
              <a:spLocks/>
            </p:cNvSpPr>
            <p:nvPr/>
          </p:nvSpPr>
          <p:spPr>
            <a:xfrm>
              <a:off x="491945" y="4691413"/>
              <a:ext cx="1760968" cy="36576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Concrete, Steel, Supplies, Transport, Computers, Parts, Office Supplies, and more…</a:t>
              </a:r>
              <a:endParaRPr kumimoji="0" lang="en-US" sz="1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nvGrpSpPr>
            <p:cNvPr id="12" name="Group 11">
              <a:extLst>
                <a:ext uri="{FF2B5EF4-FFF2-40B4-BE49-F238E27FC236}">
                  <a16:creationId xmlns:a16="http://schemas.microsoft.com/office/drawing/2014/main" id="{6C127A7E-2AA3-4E92-8F81-93FF9712662B}"/>
                </a:ext>
              </a:extLst>
            </p:cNvPr>
            <p:cNvGrpSpPr/>
            <p:nvPr/>
          </p:nvGrpSpPr>
          <p:grpSpPr>
            <a:xfrm>
              <a:off x="1401749" y="5156462"/>
              <a:ext cx="457200" cy="457200"/>
              <a:chOff x="1462495" y="4990137"/>
              <a:chExt cx="457200" cy="457200"/>
            </a:xfrm>
          </p:grpSpPr>
          <p:sp>
            <p:nvSpPr>
              <p:cNvPr id="62" name="Background">
                <a:extLst>
                  <a:ext uri="{FF2B5EF4-FFF2-40B4-BE49-F238E27FC236}">
                    <a16:creationId xmlns:a16="http://schemas.microsoft.com/office/drawing/2014/main" id="{AEFE1420-EF3B-423B-9633-A73FA9C26C8B}"/>
                  </a:ext>
                </a:extLst>
              </p:cNvPr>
              <p:cNvSpPr/>
              <p:nvPr/>
            </p:nvSpPr>
            <p:spPr>
              <a:xfrm>
                <a:off x="1462495" y="4990137"/>
                <a:ext cx="457200" cy="457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sp>
            <p:nvSpPr>
              <p:cNvPr id="63" name="Vector">
                <a:extLst>
                  <a:ext uri="{FF2B5EF4-FFF2-40B4-BE49-F238E27FC236}">
                    <a16:creationId xmlns:a16="http://schemas.microsoft.com/office/drawing/2014/main" id="{B6819A14-6F8F-4552-8C27-056BCC7A3FE3}"/>
                  </a:ext>
                </a:extLst>
              </p:cNvPr>
              <p:cNvSpPr>
                <a:spLocks noChangeAspect="1"/>
              </p:cNvSpPr>
              <p:nvPr/>
            </p:nvSpPr>
            <p:spPr bwMode="gray">
              <a:xfrm>
                <a:off x="1506692" y="5079093"/>
                <a:ext cx="368808" cy="279293"/>
              </a:xfrm>
              <a:custGeom>
                <a:avLst/>
                <a:gdLst>
                  <a:gd name="connsiteX0" fmla="*/ 407003 w 408527"/>
                  <a:gd name="connsiteY0" fmla="*/ 284988 h 309372"/>
                  <a:gd name="connsiteX1" fmla="*/ 372618 w 408527"/>
                  <a:gd name="connsiteY1" fmla="*/ 231839 h 309372"/>
                  <a:gd name="connsiteX2" fmla="*/ 370427 w 408527"/>
                  <a:gd name="connsiteY2" fmla="*/ 229553 h 309372"/>
                  <a:gd name="connsiteX3" fmla="*/ 370713 w 408527"/>
                  <a:gd name="connsiteY3" fmla="*/ 227457 h 309372"/>
                  <a:gd name="connsiteX4" fmla="*/ 370713 w 408527"/>
                  <a:gd name="connsiteY4" fmla="*/ 33147 h 309372"/>
                  <a:gd name="connsiteX5" fmla="*/ 337566 w 408527"/>
                  <a:gd name="connsiteY5" fmla="*/ 0 h 309372"/>
                  <a:gd name="connsiteX6" fmla="*/ 73057 w 408527"/>
                  <a:gd name="connsiteY6" fmla="*/ 0 h 309372"/>
                  <a:gd name="connsiteX7" fmla="*/ 38005 w 408527"/>
                  <a:gd name="connsiteY7" fmla="*/ 34004 h 309372"/>
                  <a:gd name="connsiteX8" fmla="*/ 37719 w 408527"/>
                  <a:gd name="connsiteY8" fmla="*/ 36386 h 309372"/>
                  <a:gd name="connsiteX9" fmla="*/ 37719 w 408527"/>
                  <a:gd name="connsiteY9" fmla="*/ 227457 h 309372"/>
                  <a:gd name="connsiteX10" fmla="*/ 38005 w 408527"/>
                  <a:gd name="connsiteY10" fmla="*/ 229553 h 309372"/>
                  <a:gd name="connsiteX11" fmla="*/ 35814 w 408527"/>
                  <a:gd name="connsiteY11" fmla="*/ 231839 h 309372"/>
                  <a:gd name="connsiteX12" fmla="*/ 1524 w 408527"/>
                  <a:gd name="connsiteY12" fmla="*/ 284988 h 309372"/>
                  <a:gd name="connsiteX13" fmla="*/ 0 w 408527"/>
                  <a:gd name="connsiteY13" fmla="*/ 290322 h 309372"/>
                  <a:gd name="connsiteX14" fmla="*/ 0 w 408527"/>
                  <a:gd name="connsiteY14" fmla="*/ 309372 h 309372"/>
                  <a:gd name="connsiteX15" fmla="*/ 408527 w 408527"/>
                  <a:gd name="connsiteY15" fmla="*/ 309372 h 309372"/>
                  <a:gd name="connsiteX16" fmla="*/ 408527 w 408527"/>
                  <a:gd name="connsiteY16" fmla="*/ 290322 h 309372"/>
                  <a:gd name="connsiteX17" fmla="*/ 407003 w 408527"/>
                  <a:gd name="connsiteY17" fmla="*/ 284988 h 309372"/>
                  <a:gd name="connsiteX18" fmla="*/ 206407 w 408527"/>
                  <a:gd name="connsiteY18" fmla="*/ 3524 h 309372"/>
                  <a:gd name="connsiteX19" fmla="*/ 212408 w 408527"/>
                  <a:gd name="connsiteY19" fmla="*/ 9525 h 309372"/>
                  <a:gd name="connsiteX20" fmla="*/ 206407 w 408527"/>
                  <a:gd name="connsiteY20" fmla="*/ 15526 h 309372"/>
                  <a:gd name="connsiteX21" fmla="*/ 200406 w 408527"/>
                  <a:gd name="connsiteY21" fmla="*/ 9525 h 309372"/>
                  <a:gd name="connsiteX22" fmla="*/ 206407 w 408527"/>
                  <a:gd name="connsiteY22" fmla="*/ 3524 h 309372"/>
                  <a:gd name="connsiteX23" fmla="*/ 56769 w 408527"/>
                  <a:gd name="connsiteY23" fmla="*/ 37624 h 309372"/>
                  <a:gd name="connsiteX24" fmla="*/ 74867 w 408527"/>
                  <a:gd name="connsiteY24" fmla="*/ 19050 h 309372"/>
                  <a:gd name="connsiteX25" fmla="*/ 336709 w 408527"/>
                  <a:gd name="connsiteY25" fmla="*/ 18955 h 309372"/>
                  <a:gd name="connsiteX26" fmla="*/ 351663 w 408527"/>
                  <a:gd name="connsiteY26" fmla="*/ 33147 h 309372"/>
                  <a:gd name="connsiteX27" fmla="*/ 351663 w 408527"/>
                  <a:gd name="connsiteY27" fmla="*/ 227457 h 309372"/>
                  <a:gd name="connsiteX28" fmla="*/ 56769 w 408527"/>
                  <a:gd name="connsiteY28" fmla="*/ 227457 h 309372"/>
                  <a:gd name="connsiteX29" fmla="*/ 56769 w 408527"/>
                  <a:gd name="connsiteY29" fmla="*/ 37624 h 309372"/>
                  <a:gd name="connsiteX30" fmla="*/ 238506 w 408527"/>
                  <a:gd name="connsiteY30" fmla="*/ 280702 h 309372"/>
                  <a:gd name="connsiteX31" fmla="*/ 228981 w 408527"/>
                  <a:gd name="connsiteY31" fmla="*/ 290227 h 309372"/>
                  <a:gd name="connsiteX32" fmla="*/ 228981 w 408527"/>
                  <a:gd name="connsiteY32" fmla="*/ 290322 h 309372"/>
                  <a:gd name="connsiteX33" fmla="*/ 181166 w 408527"/>
                  <a:gd name="connsiteY33" fmla="*/ 290322 h 309372"/>
                  <a:gd name="connsiteX34" fmla="*/ 181166 w 408527"/>
                  <a:gd name="connsiteY34" fmla="*/ 290227 h 309372"/>
                  <a:gd name="connsiteX35" fmla="*/ 171641 w 408527"/>
                  <a:gd name="connsiteY35" fmla="*/ 280702 h 309372"/>
                  <a:gd name="connsiteX36" fmla="*/ 27051 w 408527"/>
                  <a:gd name="connsiteY36" fmla="*/ 280702 h 309372"/>
                  <a:gd name="connsiteX37" fmla="*/ 49054 w 408527"/>
                  <a:gd name="connsiteY37" fmla="*/ 246507 h 309372"/>
                  <a:gd name="connsiteX38" fmla="*/ 359474 w 408527"/>
                  <a:gd name="connsiteY38" fmla="*/ 246507 h 309372"/>
                  <a:gd name="connsiteX39" fmla="*/ 381476 w 408527"/>
                  <a:gd name="connsiteY39" fmla="*/ 280702 h 309372"/>
                  <a:gd name="connsiteX40" fmla="*/ 238506 w 408527"/>
                  <a:gd name="connsiteY40" fmla="*/ 280702 h 30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8527" h="309372">
                    <a:moveTo>
                      <a:pt x="407003" y="284988"/>
                    </a:moveTo>
                    <a:lnTo>
                      <a:pt x="372618" y="231839"/>
                    </a:lnTo>
                    <a:cubicBezTo>
                      <a:pt x="372047" y="230886"/>
                      <a:pt x="371285" y="230124"/>
                      <a:pt x="370427" y="229553"/>
                    </a:cubicBezTo>
                    <a:cubicBezTo>
                      <a:pt x="370618" y="228886"/>
                      <a:pt x="370713" y="228219"/>
                      <a:pt x="370713" y="227457"/>
                    </a:cubicBezTo>
                    <a:lnTo>
                      <a:pt x="370713" y="33147"/>
                    </a:lnTo>
                    <a:cubicBezTo>
                      <a:pt x="370713" y="9049"/>
                      <a:pt x="349568" y="952"/>
                      <a:pt x="337566" y="0"/>
                    </a:cubicBezTo>
                    <a:lnTo>
                      <a:pt x="73057" y="0"/>
                    </a:lnTo>
                    <a:cubicBezTo>
                      <a:pt x="71914" y="190"/>
                      <a:pt x="45625" y="3620"/>
                      <a:pt x="38005" y="34004"/>
                    </a:cubicBezTo>
                    <a:cubicBezTo>
                      <a:pt x="37814" y="34766"/>
                      <a:pt x="37719" y="35528"/>
                      <a:pt x="37719" y="36386"/>
                    </a:cubicBezTo>
                    <a:lnTo>
                      <a:pt x="37719" y="227457"/>
                    </a:lnTo>
                    <a:cubicBezTo>
                      <a:pt x="37719" y="228219"/>
                      <a:pt x="37814" y="228886"/>
                      <a:pt x="38005" y="229553"/>
                    </a:cubicBezTo>
                    <a:cubicBezTo>
                      <a:pt x="37148" y="230124"/>
                      <a:pt x="36386" y="230886"/>
                      <a:pt x="35814" y="231839"/>
                    </a:cubicBezTo>
                    <a:lnTo>
                      <a:pt x="1524" y="284988"/>
                    </a:lnTo>
                    <a:cubicBezTo>
                      <a:pt x="476" y="286607"/>
                      <a:pt x="0" y="288512"/>
                      <a:pt x="0" y="290322"/>
                    </a:cubicBezTo>
                    <a:lnTo>
                      <a:pt x="0" y="309372"/>
                    </a:lnTo>
                    <a:lnTo>
                      <a:pt x="408527" y="309372"/>
                    </a:lnTo>
                    <a:lnTo>
                      <a:pt x="408527" y="290322"/>
                    </a:lnTo>
                    <a:cubicBezTo>
                      <a:pt x="408527" y="288417"/>
                      <a:pt x="408051" y="286607"/>
                      <a:pt x="407003" y="284988"/>
                    </a:cubicBezTo>
                    <a:close/>
                    <a:moveTo>
                      <a:pt x="206407" y="3524"/>
                    </a:moveTo>
                    <a:cubicBezTo>
                      <a:pt x="209741" y="3524"/>
                      <a:pt x="212408" y="6191"/>
                      <a:pt x="212408" y="9525"/>
                    </a:cubicBezTo>
                    <a:cubicBezTo>
                      <a:pt x="212408" y="12764"/>
                      <a:pt x="209741" y="15526"/>
                      <a:pt x="206407" y="15526"/>
                    </a:cubicBezTo>
                    <a:cubicBezTo>
                      <a:pt x="203073" y="15526"/>
                      <a:pt x="200406" y="12764"/>
                      <a:pt x="200406" y="9525"/>
                    </a:cubicBezTo>
                    <a:cubicBezTo>
                      <a:pt x="200406" y="6191"/>
                      <a:pt x="203073" y="3524"/>
                      <a:pt x="206407" y="3524"/>
                    </a:cubicBezTo>
                    <a:close/>
                    <a:moveTo>
                      <a:pt x="56769" y="37624"/>
                    </a:moveTo>
                    <a:cubicBezTo>
                      <a:pt x="61055" y="22479"/>
                      <a:pt x="72390" y="19526"/>
                      <a:pt x="74867" y="19050"/>
                    </a:cubicBezTo>
                    <a:lnTo>
                      <a:pt x="336709" y="18955"/>
                    </a:lnTo>
                    <a:cubicBezTo>
                      <a:pt x="339185" y="19241"/>
                      <a:pt x="351663" y="21050"/>
                      <a:pt x="351663" y="33147"/>
                    </a:cubicBezTo>
                    <a:lnTo>
                      <a:pt x="351663" y="227457"/>
                    </a:lnTo>
                    <a:lnTo>
                      <a:pt x="56769" y="227457"/>
                    </a:lnTo>
                    <a:lnTo>
                      <a:pt x="56769" y="37624"/>
                    </a:lnTo>
                    <a:close/>
                    <a:moveTo>
                      <a:pt x="238506" y="280702"/>
                    </a:moveTo>
                    <a:cubicBezTo>
                      <a:pt x="233172" y="280702"/>
                      <a:pt x="228981" y="284893"/>
                      <a:pt x="228981" y="290227"/>
                    </a:cubicBezTo>
                    <a:lnTo>
                      <a:pt x="228981" y="290322"/>
                    </a:lnTo>
                    <a:lnTo>
                      <a:pt x="181166" y="290322"/>
                    </a:lnTo>
                    <a:lnTo>
                      <a:pt x="181166" y="290227"/>
                    </a:lnTo>
                    <a:cubicBezTo>
                      <a:pt x="181166" y="284893"/>
                      <a:pt x="176974" y="280702"/>
                      <a:pt x="171641" y="280702"/>
                    </a:cubicBezTo>
                    <a:lnTo>
                      <a:pt x="27051" y="280702"/>
                    </a:lnTo>
                    <a:lnTo>
                      <a:pt x="49054" y="246507"/>
                    </a:lnTo>
                    <a:lnTo>
                      <a:pt x="359474" y="246507"/>
                    </a:lnTo>
                    <a:lnTo>
                      <a:pt x="381476" y="280702"/>
                    </a:lnTo>
                    <a:lnTo>
                      <a:pt x="238506" y="280702"/>
                    </a:lnTo>
                    <a:close/>
                  </a:path>
                </a:pathLst>
              </a:custGeom>
              <a:solidFill>
                <a:srgbClr val="33488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417E"/>
                  </a:solidFill>
                  <a:effectLst/>
                  <a:uLnTx/>
                  <a:uFillTx/>
                  <a:latin typeface="DB Sans" panose="020B0502050202020204" pitchFamily="34" charset="0"/>
                  <a:ea typeface="+mn-ea"/>
                  <a:cs typeface="+mn-cs"/>
                </a:endParaRPr>
              </a:p>
            </p:txBody>
          </p:sp>
        </p:grpSp>
        <p:grpSp>
          <p:nvGrpSpPr>
            <p:cNvPr id="10" name="Group 9">
              <a:extLst>
                <a:ext uri="{FF2B5EF4-FFF2-40B4-BE49-F238E27FC236}">
                  <a16:creationId xmlns:a16="http://schemas.microsoft.com/office/drawing/2014/main" id="{00B10939-E257-888B-A623-AE0B45C38BC2}"/>
                </a:ext>
              </a:extLst>
            </p:cNvPr>
            <p:cNvGrpSpPr/>
            <p:nvPr/>
          </p:nvGrpSpPr>
          <p:grpSpPr>
            <a:xfrm>
              <a:off x="948975" y="5156462"/>
              <a:ext cx="457200" cy="457200"/>
              <a:chOff x="705684" y="4990137"/>
              <a:chExt cx="457200" cy="457200"/>
            </a:xfrm>
          </p:grpSpPr>
          <p:sp>
            <p:nvSpPr>
              <p:cNvPr id="65" name="Background">
                <a:extLst>
                  <a:ext uri="{FF2B5EF4-FFF2-40B4-BE49-F238E27FC236}">
                    <a16:creationId xmlns:a16="http://schemas.microsoft.com/office/drawing/2014/main" id="{52E81DB6-BB3F-BCEA-BAF5-EF8C1BEDDD18}"/>
                  </a:ext>
                </a:extLst>
              </p:cNvPr>
              <p:cNvSpPr/>
              <p:nvPr/>
            </p:nvSpPr>
            <p:spPr>
              <a:xfrm>
                <a:off x="705684" y="4990137"/>
                <a:ext cx="457200" cy="4572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555B63"/>
                    </a:solidFill>
                  </a14:hiddenFill>
                </a:ext>
                <a:ext uri="{91240B29-F687-4F45-9708-019B960494DF}">
                  <a14:hiddenLine xmlns:a14="http://schemas.microsoft.com/office/drawing/2010/main" w="9525" cap="flat" cmpd="sng" algn="ctr">
                    <a:solidFill>
                      <a:srgbClr val="555B6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16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66" name="Vector">
                <a:extLst>
                  <a:ext uri="{FF2B5EF4-FFF2-40B4-BE49-F238E27FC236}">
                    <a16:creationId xmlns:a16="http://schemas.microsoft.com/office/drawing/2014/main" id="{D79FBFA5-B69B-476A-F66A-66EAE64C10C2}"/>
                  </a:ext>
                </a:extLst>
              </p:cNvPr>
              <p:cNvSpPr>
                <a:spLocks noChangeAspect="1"/>
              </p:cNvSpPr>
              <p:nvPr/>
            </p:nvSpPr>
            <p:spPr bwMode="gray">
              <a:xfrm>
                <a:off x="749881" y="5107983"/>
                <a:ext cx="368807" cy="221508"/>
              </a:xfrm>
              <a:custGeom>
                <a:avLst/>
                <a:gdLst>
                  <a:gd name="connsiteX0" fmla="*/ 642342 w 655451"/>
                  <a:gd name="connsiteY0" fmla="*/ 173695 h 393667"/>
                  <a:gd name="connsiteX1" fmla="*/ 537798 w 655451"/>
                  <a:gd name="connsiteY1" fmla="*/ 69150 h 393667"/>
                  <a:gd name="connsiteX2" fmla="*/ 502513 w 655451"/>
                  <a:gd name="connsiteY2" fmla="*/ 54621 h 393667"/>
                  <a:gd name="connsiteX3" fmla="*/ 436968 w 655451"/>
                  <a:gd name="connsiteY3" fmla="*/ 54621 h 393667"/>
                  <a:gd name="connsiteX4" fmla="*/ 436968 w 655451"/>
                  <a:gd name="connsiteY4" fmla="*/ 10924 h 393667"/>
                  <a:gd name="connsiteX5" fmla="*/ 426043 w 655451"/>
                  <a:gd name="connsiteY5" fmla="*/ 0 h 393667"/>
                  <a:gd name="connsiteX6" fmla="*/ 10924 w 655451"/>
                  <a:gd name="connsiteY6" fmla="*/ 0 h 393667"/>
                  <a:gd name="connsiteX7" fmla="*/ 0 w 655451"/>
                  <a:gd name="connsiteY7" fmla="*/ 10924 h 393667"/>
                  <a:gd name="connsiteX8" fmla="*/ 0 w 655451"/>
                  <a:gd name="connsiteY8" fmla="*/ 305877 h 393667"/>
                  <a:gd name="connsiteX9" fmla="*/ 10924 w 655451"/>
                  <a:gd name="connsiteY9" fmla="*/ 316801 h 393667"/>
                  <a:gd name="connsiteX10" fmla="*/ 88377 w 655451"/>
                  <a:gd name="connsiteY10" fmla="*/ 316801 h 393667"/>
                  <a:gd name="connsiteX11" fmla="*/ 141629 w 655451"/>
                  <a:gd name="connsiteY11" fmla="*/ 392673 h 393667"/>
                  <a:gd name="connsiteX12" fmla="*/ 217501 w 655451"/>
                  <a:gd name="connsiteY12" fmla="*/ 339422 h 393667"/>
                  <a:gd name="connsiteX13" fmla="*/ 217501 w 655451"/>
                  <a:gd name="connsiteY13" fmla="*/ 316801 h 393667"/>
                  <a:gd name="connsiteX14" fmla="*/ 459799 w 655451"/>
                  <a:gd name="connsiteY14" fmla="*/ 316801 h 393667"/>
                  <a:gd name="connsiteX15" fmla="*/ 513051 w 655451"/>
                  <a:gd name="connsiteY15" fmla="*/ 392673 h 393667"/>
                  <a:gd name="connsiteX16" fmla="*/ 588923 w 655451"/>
                  <a:gd name="connsiteY16" fmla="*/ 339422 h 393667"/>
                  <a:gd name="connsiteX17" fmla="*/ 588923 w 655451"/>
                  <a:gd name="connsiteY17" fmla="*/ 316801 h 393667"/>
                  <a:gd name="connsiteX18" fmla="*/ 611755 w 655451"/>
                  <a:gd name="connsiteY18" fmla="*/ 316801 h 393667"/>
                  <a:gd name="connsiteX19" fmla="*/ 655451 w 655451"/>
                  <a:gd name="connsiteY19" fmla="*/ 273105 h 393667"/>
                  <a:gd name="connsiteX20" fmla="*/ 655451 w 655451"/>
                  <a:gd name="connsiteY20" fmla="*/ 205484 h 393667"/>
                  <a:gd name="connsiteX21" fmla="*/ 642342 w 655451"/>
                  <a:gd name="connsiteY21" fmla="*/ 173695 h 393667"/>
                  <a:gd name="connsiteX22" fmla="*/ 502513 w 655451"/>
                  <a:gd name="connsiteY22" fmla="*/ 76469 h 393667"/>
                  <a:gd name="connsiteX23" fmla="*/ 522318 w 655451"/>
                  <a:gd name="connsiteY23" fmla="*/ 84630 h 393667"/>
                  <a:gd name="connsiteX24" fmla="*/ 612476 w 655451"/>
                  <a:gd name="connsiteY24" fmla="*/ 174787 h 393667"/>
                  <a:gd name="connsiteX25" fmla="*/ 480664 w 655451"/>
                  <a:gd name="connsiteY25" fmla="*/ 174787 h 393667"/>
                  <a:gd name="connsiteX26" fmla="*/ 480664 w 655451"/>
                  <a:gd name="connsiteY26" fmla="*/ 76469 h 393667"/>
                  <a:gd name="connsiteX27" fmla="*/ 415119 w 655451"/>
                  <a:gd name="connsiteY27" fmla="*/ 21848 h 393667"/>
                  <a:gd name="connsiteX28" fmla="*/ 415119 w 655451"/>
                  <a:gd name="connsiteY28" fmla="*/ 218484 h 393667"/>
                  <a:gd name="connsiteX29" fmla="*/ 21848 w 655451"/>
                  <a:gd name="connsiteY29" fmla="*/ 218484 h 393667"/>
                  <a:gd name="connsiteX30" fmla="*/ 21848 w 655451"/>
                  <a:gd name="connsiteY30" fmla="*/ 21848 h 393667"/>
                  <a:gd name="connsiteX31" fmla="*/ 152939 w 655451"/>
                  <a:gd name="connsiteY31" fmla="*/ 371422 h 393667"/>
                  <a:gd name="connsiteX32" fmla="*/ 109242 w 655451"/>
                  <a:gd name="connsiteY32" fmla="*/ 327726 h 393667"/>
                  <a:gd name="connsiteX33" fmla="*/ 152939 w 655451"/>
                  <a:gd name="connsiteY33" fmla="*/ 284029 h 393667"/>
                  <a:gd name="connsiteX34" fmla="*/ 196635 w 655451"/>
                  <a:gd name="connsiteY34" fmla="*/ 327726 h 393667"/>
                  <a:gd name="connsiteX35" fmla="*/ 152939 w 655451"/>
                  <a:gd name="connsiteY35" fmla="*/ 371422 h 393667"/>
                  <a:gd name="connsiteX36" fmla="*/ 152939 w 655451"/>
                  <a:gd name="connsiteY36" fmla="*/ 262181 h 393667"/>
                  <a:gd name="connsiteX37" fmla="*/ 96264 w 655451"/>
                  <a:gd name="connsiteY37" fmla="*/ 294953 h 393667"/>
                  <a:gd name="connsiteX38" fmla="*/ 21848 w 655451"/>
                  <a:gd name="connsiteY38" fmla="*/ 294953 h 393667"/>
                  <a:gd name="connsiteX39" fmla="*/ 21848 w 655451"/>
                  <a:gd name="connsiteY39" fmla="*/ 240332 h 393667"/>
                  <a:gd name="connsiteX40" fmla="*/ 415119 w 655451"/>
                  <a:gd name="connsiteY40" fmla="*/ 240332 h 393667"/>
                  <a:gd name="connsiteX41" fmla="*/ 415119 w 655451"/>
                  <a:gd name="connsiteY41" fmla="*/ 294953 h 393667"/>
                  <a:gd name="connsiteX42" fmla="*/ 209613 w 655451"/>
                  <a:gd name="connsiteY42" fmla="*/ 294953 h 393667"/>
                  <a:gd name="connsiteX43" fmla="*/ 152939 w 655451"/>
                  <a:gd name="connsiteY43" fmla="*/ 262181 h 393667"/>
                  <a:gd name="connsiteX44" fmla="*/ 524361 w 655451"/>
                  <a:gd name="connsiteY44" fmla="*/ 371422 h 393667"/>
                  <a:gd name="connsiteX45" fmla="*/ 480664 w 655451"/>
                  <a:gd name="connsiteY45" fmla="*/ 327726 h 393667"/>
                  <a:gd name="connsiteX46" fmla="*/ 524361 w 655451"/>
                  <a:gd name="connsiteY46" fmla="*/ 284029 h 393667"/>
                  <a:gd name="connsiteX47" fmla="*/ 568058 w 655451"/>
                  <a:gd name="connsiteY47" fmla="*/ 327726 h 393667"/>
                  <a:gd name="connsiteX48" fmla="*/ 524361 w 655451"/>
                  <a:gd name="connsiteY48" fmla="*/ 371422 h 393667"/>
                  <a:gd name="connsiteX49" fmla="*/ 633603 w 655451"/>
                  <a:gd name="connsiteY49" fmla="*/ 273105 h 393667"/>
                  <a:gd name="connsiteX50" fmla="*/ 611755 w 655451"/>
                  <a:gd name="connsiteY50" fmla="*/ 294953 h 393667"/>
                  <a:gd name="connsiteX51" fmla="*/ 581036 w 655451"/>
                  <a:gd name="connsiteY51" fmla="*/ 294953 h 393667"/>
                  <a:gd name="connsiteX52" fmla="*/ 491740 w 655451"/>
                  <a:gd name="connsiteY52" fmla="*/ 270899 h 393667"/>
                  <a:gd name="connsiteX53" fmla="*/ 467686 w 655451"/>
                  <a:gd name="connsiteY53" fmla="*/ 294953 h 393667"/>
                  <a:gd name="connsiteX54" fmla="*/ 436968 w 655451"/>
                  <a:gd name="connsiteY54" fmla="*/ 294953 h 393667"/>
                  <a:gd name="connsiteX55" fmla="*/ 436968 w 655451"/>
                  <a:gd name="connsiteY55" fmla="*/ 76469 h 393667"/>
                  <a:gd name="connsiteX56" fmla="*/ 458816 w 655451"/>
                  <a:gd name="connsiteY56" fmla="*/ 76469 h 393667"/>
                  <a:gd name="connsiteX57" fmla="*/ 458816 w 655451"/>
                  <a:gd name="connsiteY57" fmla="*/ 185711 h 393667"/>
                  <a:gd name="connsiteX58" fmla="*/ 469740 w 655451"/>
                  <a:gd name="connsiteY58" fmla="*/ 196635 h 393667"/>
                  <a:gd name="connsiteX59" fmla="*/ 631789 w 655451"/>
                  <a:gd name="connsiteY59" fmla="*/ 196635 h 393667"/>
                  <a:gd name="connsiteX60" fmla="*/ 633603 w 655451"/>
                  <a:gd name="connsiteY60" fmla="*/ 205484 h 39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55451" h="393667">
                    <a:moveTo>
                      <a:pt x="642342" y="173695"/>
                    </a:moveTo>
                    <a:lnTo>
                      <a:pt x="537798" y="69150"/>
                    </a:lnTo>
                    <a:cubicBezTo>
                      <a:pt x="528122" y="60289"/>
                      <a:pt x="515622" y="55143"/>
                      <a:pt x="502513" y="54621"/>
                    </a:cubicBezTo>
                    <a:lnTo>
                      <a:pt x="436968" y="54621"/>
                    </a:lnTo>
                    <a:lnTo>
                      <a:pt x="436968" y="10924"/>
                    </a:lnTo>
                    <a:cubicBezTo>
                      <a:pt x="436968" y="4891"/>
                      <a:pt x="432077" y="0"/>
                      <a:pt x="426043" y="0"/>
                    </a:cubicBezTo>
                    <a:lnTo>
                      <a:pt x="10924" y="0"/>
                    </a:lnTo>
                    <a:cubicBezTo>
                      <a:pt x="4891" y="0"/>
                      <a:pt x="0" y="4891"/>
                      <a:pt x="0" y="10924"/>
                    </a:cubicBezTo>
                    <a:lnTo>
                      <a:pt x="0" y="305877"/>
                    </a:lnTo>
                    <a:cubicBezTo>
                      <a:pt x="0" y="311911"/>
                      <a:pt x="4891" y="316801"/>
                      <a:pt x="10924" y="316801"/>
                    </a:cubicBezTo>
                    <a:lnTo>
                      <a:pt x="88377" y="316801"/>
                    </a:lnTo>
                    <a:cubicBezTo>
                      <a:pt x="82130" y="352458"/>
                      <a:pt x="105972" y="386427"/>
                      <a:pt x="141629" y="392673"/>
                    </a:cubicBezTo>
                    <a:cubicBezTo>
                      <a:pt x="177285" y="398920"/>
                      <a:pt x="211254" y="375079"/>
                      <a:pt x="217501" y="339422"/>
                    </a:cubicBezTo>
                    <a:cubicBezTo>
                      <a:pt x="218811" y="331939"/>
                      <a:pt x="218811" y="324285"/>
                      <a:pt x="217501" y="316801"/>
                    </a:cubicBezTo>
                    <a:lnTo>
                      <a:pt x="459799" y="316801"/>
                    </a:lnTo>
                    <a:cubicBezTo>
                      <a:pt x="453553" y="352458"/>
                      <a:pt x="477395" y="386427"/>
                      <a:pt x="513051" y="392673"/>
                    </a:cubicBezTo>
                    <a:cubicBezTo>
                      <a:pt x="548708" y="398920"/>
                      <a:pt x="582677" y="375079"/>
                      <a:pt x="588923" y="339422"/>
                    </a:cubicBezTo>
                    <a:cubicBezTo>
                      <a:pt x="590234" y="331939"/>
                      <a:pt x="590234" y="324285"/>
                      <a:pt x="588923" y="316801"/>
                    </a:cubicBezTo>
                    <a:lnTo>
                      <a:pt x="611755" y="316801"/>
                    </a:lnTo>
                    <a:cubicBezTo>
                      <a:pt x="635887" y="316801"/>
                      <a:pt x="655451" y="297237"/>
                      <a:pt x="655451" y="273105"/>
                    </a:cubicBezTo>
                    <a:lnTo>
                      <a:pt x="655451" y="205484"/>
                    </a:lnTo>
                    <a:cubicBezTo>
                      <a:pt x="655456" y="193571"/>
                      <a:pt x="650742" y="182142"/>
                      <a:pt x="642342" y="173695"/>
                    </a:cubicBezTo>
                    <a:close/>
                    <a:moveTo>
                      <a:pt x="502513" y="76469"/>
                    </a:moveTo>
                    <a:cubicBezTo>
                      <a:pt x="509814" y="77011"/>
                      <a:pt x="516753" y="79870"/>
                      <a:pt x="522318" y="84630"/>
                    </a:cubicBezTo>
                    <a:lnTo>
                      <a:pt x="612476" y="174787"/>
                    </a:lnTo>
                    <a:lnTo>
                      <a:pt x="480664" y="174787"/>
                    </a:lnTo>
                    <a:lnTo>
                      <a:pt x="480664" y="76469"/>
                    </a:lnTo>
                    <a:close/>
                    <a:moveTo>
                      <a:pt x="415119" y="21848"/>
                    </a:moveTo>
                    <a:lnTo>
                      <a:pt x="415119" y="218484"/>
                    </a:lnTo>
                    <a:lnTo>
                      <a:pt x="21848" y="218484"/>
                    </a:lnTo>
                    <a:lnTo>
                      <a:pt x="21848" y="21848"/>
                    </a:lnTo>
                    <a:close/>
                    <a:moveTo>
                      <a:pt x="152939" y="371422"/>
                    </a:moveTo>
                    <a:cubicBezTo>
                      <a:pt x="128806" y="371422"/>
                      <a:pt x="109242" y="351858"/>
                      <a:pt x="109242" y="327726"/>
                    </a:cubicBezTo>
                    <a:cubicBezTo>
                      <a:pt x="109242" y="303593"/>
                      <a:pt x="128806" y="284029"/>
                      <a:pt x="152939" y="284029"/>
                    </a:cubicBezTo>
                    <a:cubicBezTo>
                      <a:pt x="177071" y="284029"/>
                      <a:pt x="196635" y="303593"/>
                      <a:pt x="196635" y="327726"/>
                    </a:cubicBezTo>
                    <a:cubicBezTo>
                      <a:pt x="196635" y="351858"/>
                      <a:pt x="177071" y="371422"/>
                      <a:pt x="152939" y="371422"/>
                    </a:cubicBezTo>
                    <a:close/>
                    <a:moveTo>
                      <a:pt x="152939" y="262181"/>
                    </a:moveTo>
                    <a:cubicBezTo>
                      <a:pt x="129553" y="262212"/>
                      <a:pt x="107956" y="274701"/>
                      <a:pt x="96264" y="294953"/>
                    </a:cubicBezTo>
                    <a:lnTo>
                      <a:pt x="21848" y="294953"/>
                    </a:lnTo>
                    <a:lnTo>
                      <a:pt x="21848" y="240332"/>
                    </a:lnTo>
                    <a:lnTo>
                      <a:pt x="415119" y="240332"/>
                    </a:lnTo>
                    <a:lnTo>
                      <a:pt x="415119" y="294953"/>
                    </a:lnTo>
                    <a:lnTo>
                      <a:pt x="209613" y="294953"/>
                    </a:lnTo>
                    <a:cubicBezTo>
                      <a:pt x="197921" y="274701"/>
                      <a:pt x="176324" y="262212"/>
                      <a:pt x="152939" y="262181"/>
                    </a:cubicBezTo>
                    <a:close/>
                    <a:moveTo>
                      <a:pt x="524361" y="371422"/>
                    </a:moveTo>
                    <a:cubicBezTo>
                      <a:pt x="500228" y="371422"/>
                      <a:pt x="480664" y="351858"/>
                      <a:pt x="480664" y="327726"/>
                    </a:cubicBezTo>
                    <a:cubicBezTo>
                      <a:pt x="480664" y="303593"/>
                      <a:pt x="500228" y="284029"/>
                      <a:pt x="524361" y="284029"/>
                    </a:cubicBezTo>
                    <a:cubicBezTo>
                      <a:pt x="548494" y="284029"/>
                      <a:pt x="568058" y="303593"/>
                      <a:pt x="568058" y="327726"/>
                    </a:cubicBezTo>
                    <a:cubicBezTo>
                      <a:pt x="568058" y="351858"/>
                      <a:pt x="548494" y="371422"/>
                      <a:pt x="524361" y="371422"/>
                    </a:cubicBezTo>
                    <a:close/>
                    <a:moveTo>
                      <a:pt x="633603" y="273105"/>
                    </a:moveTo>
                    <a:cubicBezTo>
                      <a:pt x="633603" y="285172"/>
                      <a:pt x="623821" y="294953"/>
                      <a:pt x="611755" y="294953"/>
                    </a:cubicBezTo>
                    <a:lnTo>
                      <a:pt x="581036" y="294953"/>
                    </a:lnTo>
                    <a:cubicBezTo>
                      <a:pt x="563020" y="263652"/>
                      <a:pt x="523040" y="252883"/>
                      <a:pt x="491740" y="270899"/>
                    </a:cubicBezTo>
                    <a:cubicBezTo>
                      <a:pt x="481740" y="276655"/>
                      <a:pt x="473442" y="284953"/>
                      <a:pt x="467686" y="294953"/>
                    </a:cubicBezTo>
                    <a:lnTo>
                      <a:pt x="436968" y="294953"/>
                    </a:lnTo>
                    <a:lnTo>
                      <a:pt x="436968" y="76469"/>
                    </a:lnTo>
                    <a:lnTo>
                      <a:pt x="458816" y="76469"/>
                    </a:lnTo>
                    <a:lnTo>
                      <a:pt x="458816" y="185711"/>
                    </a:lnTo>
                    <a:cubicBezTo>
                      <a:pt x="458816" y="191745"/>
                      <a:pt x="463707" y="196635"/>
                      <a:pt x="469740" y="196635"/>
                    </a:cubicBezTo>
                    <a:lnTo>
                      <a:pt x="631789" y="196635"/>
                    </a:lnTo>
                    <a:cubicBezTo>
                      <a:pt x="632975" y="199435"/>
                      <a:pt x="633591" y="202444"/>
                      <a:pt x="633603" y="205484"/>
                    </a:cubicBezTo>
                    <a:close/>
                  </a:path>
                </a:pathLst>
              </a:custGeom>
              <a:solidFill>
                <a:srgbClr val="334886"/>
              </a:solidFill>
              <a:ln w="10864"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sp>
          <p:nvSpPr>
            <p:cNvPr id="31" name="Oval 30">
              <a:extLst>
                <a:ext uri="{FF2B5EF4-FFF2-40B4-BE49-F238E27FC236}">
                  <a16:creationId xmlns:a16="http://schemas.microsoft.com/office/drawing/2014/main" id="{A98A7CB8-E3E2-C6F4-F135-6C05510407A1}"/>
                </a:ext>
              </a:extLst>
            </p:cNvPr>
            <p:cNvSpPr/>
            <p:nvPr/>
          </p:nvSpPr>
          <p:spPr>
            <a:xfrm>
              <a:off x="4044315" y="3959893"/>
              <a:ext cx="1828800" cy="1828800"/>
            </a:xfrm>
            <a:prstGeom prst="ellipse">
              <a:avLst/>
            </a:prstGeom>
            <a:solidFill>
              <a:srgbClr val="FFFFFF"/>
            </a:solidFill>
            <a:ln w="19050" cmpd="sng">
              <a:solidFill>
                <a:srgbClr val="23417E"/>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32" name="Freeform: Shape 31">
              <a:extLst>
                <a:ext uri="{FF2B5EF4-FFF2-40B4-BE49-F238E27FC236}">
                  <a16:creationId xmlns:a16="http://schemas.microsoft.com/office/drawing/2014/main" id="{CC7C031D-1922-F88C-4E3B-47EEC3CF0281}"/>
                </a:ext>
              </a:extLst>
            </p:cNvPr>
            <p:cNvSpPr/>
            <p:nvPr/>
          </p:nvSpPr>
          <p:spPr>
            <a:xfrm>
              <a:off x="4238562" y="4028983"/>
              <a:ext cx="1440306" cy="407525"/>
            </a:xfrm>
            <a:custGeom>
              <a:avLst/>
              <a:gdLst>
                <a:gd name="connsiteX0" fmla="*/ 720153 w 1440306"/>
                <a:gd name="connsiteY0" fmla="*/ 0 h 407525"/>
                <a:gd name="connsiteX1" fmla="*/ 1421520 w 1440306"/>
                <a:gd name="connsiteY1" fmla="*/ 372914 h 407525"/>
                <a:gd name="connsiteX2" fmla="*/ 1440306 w 1440306"/>
                <a:gd name="connsiteY2" fmla="*/ 407525 h 407525"/>
                <a:gd name="connsiteX3" fmla="*/ 0 w 1440306"/>
                <a:gd name="connsiteY3" fmla="*/ 407525 h 407525"/>
                <a:gd name="connsiteX4" fmla="*/ 18786 w 1440306"/>
                <a:gd name="connsiteY4" fmla="*/ 372914 h 407525"/>
                <a:gd name="connsiteX5" fmla="*/ 720153 w 1440306"/>
                <a:gd name="connsiteY5" fmla="*/ 0 h 40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0306" h="407525">
                  <a:moveTo>
                    <a:pt x="720153" y="0"/>
                  </a:moveTo>
                  <a:cubicBezTo>
                    <a:pt x="1012111" y="0"/>
                    <a:pt x="1269520" y="147925"/>
                    <a:pt x="1421520" y="372914"/>
                  </a:cubicBezTo>
                  <a:lnTo>
                    <a:pt x="1440306" y="407525"/>
                  </a:lnTo>
                  <a:lnTo>
                    <a:pt x="0" y="407525"/>
                  </a:lnTo>
                  <a:lnTo>
                    <a:pt x="18786" y="372914"/>
                  </a:lnTo>
                  <a:cubicBezTo>
                    <a:pt x="170786" y="147925"/>
                    <a:pt x="428195" y="0"/>
                    <a:pt x="720153" y="0"/>
                  </a:cubicBezTo>
                  <a:close/>
                </a:path>
              </a:pathLst>
            </a:custGeom>
            <a:solidFill>
              <a:srgbClr val="00AEEF"/>
            </a:solidFill>
            <a:ln>
              <a:solidFill>
                <a:srgbClr val="00AEEF"/>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Narrow"/>
                  <a:ea typeface="+mn-ea"/>
                  <a:cs typeface="+mn-cs"/>
                </a:rPr>
                <a:t>INDUCED EFFECTS</a:t>
              </a:r>
            </a:p>
          </p:txBody>
        </p:sp>
        <p:sp>
          <p:nvSpPr>
            <p:cNvPr id="45" name="Textbox">
              <a:extLst>
                <a:ext uri="{FF2B5EF4-FFF2-40B4-BE49-F238E27FC236}">
                  <a16:creationId xmlns:a16="http://schemas.microsoft.com/office/drawing/2014/main" id="{BD9C214F-8A9C-1B51-F670-95C6170241F8}"/>
                </a:ext>
              </a:extLst>
            </p:cNvPr>
            <p:cNvSpPr txBox="1">
              <a:spLocks/>
            </p:cNvSpPr>
            <p:nvPr/>
          </p:nvSpPr>
          <p:spPr>
            <a:xfrm>
              <a:off x="4143180" y="4691413"/>
              <a:ext cx="1631070" cy="36576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000" b="1" i="0" u="none" strike="noStrike" kern="1200" cap="none" spc="0" normalizeH="0" baseline="0" noProof="0" dirty="0">
                  <a:ln>
                    <a:noFill/>
                  </a:ln>
                  <a:solidFill>
                    <a:srgbClr val="23417E"/>
                  </a:solidFill>
                  <a:effectLst/>
                  <a:uLnTx/>
                  <a:uFillTx/>
                  <a:latin typeface="Arial Narrow" pitchFamily="34" charset="0"/>
                  <a:ea typeface="+mn-ea"/>
                  <a:cs typeface="Arial" pitchFamily="34" charset="0"/>
                </a:rPr>
                <a:t>Housing, Groceries, Retail, Recreation, and more…</a:t>
              </a:r>
              <a:endParaRPr kumimoji="0" lang="en-US" sz="1000" b="0" i="0" u="none" strike="noStrike" kern="1200" cap="none" spc="0" normalizeH="0" baseline="0" noProof="0" dirty="0">
                <a:ln>
                  <a:noFill/>
                </a:ln>
                <a:solidFill>
                  <a:srgbClr val="23417E"/>
                </a:solidFill>
                <a:effectLst/>
                <a:uLnTx/>
                <a:uFillTx/>
                <a:latin typeface="Arial Narrow" pitchFamily="34" charset="0"/>
                <a:ea typeface="+mn-ea"/>
                <a:cs typeface="Arial" pitchFamily="34" charset="0"/>
              </a:endParaRPr>
            </a:p>
          </p:txBody>
        </p:sp>
        <p:grpSp>
          <p:nvGrpSpPr>
            <p:cNvPr id="18" name="Group 17">
              <a:extLst>
                <a:ext uri="{FF2B5EF4-FFF2-40B4-BE49-F238E27FC236}">
                  <a16:creationId xmlns:a16="http://schemas.microsoft.com/office/drawing/2014/main" id="{5AE9888D-2851-2F97-A7C0-4F92815BABF0}"/>
                </a:ext>
              </a:extLst>
            </p:cNvPr>
            <p:cNvGrpSpPr/>
            <p:nvPr/>
          </p:nvGrpSpPr>
          <p:grpSpPr>
            <a:xfrm>
              <a:off x="5146895" y="5159455"/>
              <a:ext cx="457196" cy="457200"/>
              <a:chOff x="5146895" y="4990137"/>
              <a:chExt cx="457196" cy="457200"/>
            </a:xfrm>
          </p:grpSpPr>
          <p:sp>
            <p:nvSpPr>
              <p:cNvPr id="68" name="Background">
                <a:extLst>
                  <a:ext uri="{FF2B5EF4-FFF2-40B4-BE49-F238E27FC236}">
                    <a16:creationId xmlns:a16="http://schemas.microsoft.com/office/drawing/2014/main" id="{B36D4ABC-BE84-224F-DF94-200AECC9ADF3}"/>
                  </a:ext>
                </a:extLst>
              </p:cNvPr>
              <p:cNvSpPr/>
              <p:nvPr/>
            </p:nvSpPr>
            <p:spPr>
              <a:xfrm>
                <a:off x="5146895" y="4990137"/>
                <a:ext cx="457196" cy="457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pic>
            <p:nvPicPr>
              <p:cNvPr id="69" name="Vector">
                <a:extLst>
                  <a:ext uri="{FF2B5EF4-FFF2-40B4-BE49-F238E27FC236}">
                    <a16:creationId xmlns:a16="http://schemas.microsoft.com/office/drawing/2014/main" id="{6A158C9C-1374-2E2F-CECC-E91A8194211D}"/>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xmlns="" r:embed="rId20"/>
                  </a:ext>
                </a:extLst>
              </a:blip>
              <a:stretch>
                <a:fillRect/>
              </a:stretch>
            </p:blipFill>
            <p:spPr>
              <a:xfrm>
                <a:off x="5192933" y="5036175"/>
                <a:ext cx="365116" cy="365120"/>
              </a:xfrm>
              <a:prstGeom prst="rect">
                <a:avLst/>
              </a:prstGeom>
            </p:spPr>
          </p:pic>
        </p:grpSp>
        <p:grpSp>
          <p:nvGrpSpPr>
            <p:cNvPr id="19" name="Group 18">
              <a:extLst>
                <a:ext uri="{FF2B5EF4-FFF2-40B4-BE49-F238E27FC236}">
                  <a16:creationId xmlns:a16="http://schemas.microsoft.com/office/drawing/2014/main" id="{CA5566E4-54CB-B1E6-DF83-F823D9D43AAA}"/>
                </a:ext>
              </a:extLst>
            </p:cNvPr>
            <p:cNvGrpSpPr/>
            <p:nvPr/>
          </p:nvGrpSpPr>
          <p:grpSpPr>
            <a:xfrm>
              <a:off x="4734144" y="5159455"/>
              <a:ext cx="457200" cy="457200"/>
              <a:chOff x="4714794" y="4990137"/>
              <a:chExt cx="457200" cy="457200"/>
            </a:xfrm>
          </p:grpSpPr>
          <p:sp>
            <p:nvSpPr>
              <p:cNvPr id="73" name="Background">
                <a:extLst>
                  <a:ext uri="{FF2B5EF4-FFF2-40B4-BE49-F238E27FC236}">
                    <a16:creationId xmlns:a16="http://schemas.microsoft.com/office/drawing/2014/main" id="{EF3C825D-33D8-4368-D789-CE627BB3E3DB}"/>
                  </a:ext>
                </a:extLst>
              </p:cNvPr>
              <p:cNvSpPr/>
              <p:nvPr/>
            </p:nvSpPr>
            <p:spPr>
              <a:xfrm>
                <a:off x="4714794" y="4990137"/>
                <a:ext cx="457200" cy="457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pic>
            <p:nvPicPr>
              <p:cNvPr id="75" name="Vector">
                <a:extLst>
                  <a:ext uri="{FF2B5EF4-FFF2-40B4-BE49-F238E27FC236}">
                    <a16:creationId xmlns:a16="http://schemas.microsoft.com/office/drawing/2014/main" id="{7BA8A2F2-E2E0-416C-2156-41E9E5341EE9}"/>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xmlns="" r:embed="rId22"/>
                  </a:ext>
                </a:extLst>
              </a:blip>
              <a:stretch>
                <a:fillRect/>
              </a:stretch>
            </p:blipFill>
            <p:spPr>
              <a:xfrm>
                <a:off x="4760832" y="5036176"/>
                <a:ext cx="365120" cy="365120"/>
              </a:xfrm>
              <a:prstGeom prst="rect">
                <a:avLst/>
              </a:prstGeom>
            </p:spPr>
          </p:pic>
        </p:grpSp>
        <p:grpSp>
          <p:nvGrpSpPr>
            <p:cNvPr id="17" name="Group 16">
              <a:extLst>
                <a:ext uri="{FF2B5EF4-FFF2-40B4-BE49-F238E27FC236}">
                  <a16:creationId xmlns:a16="http://schemas.microsoft.com/office/drawing/2014/main" id="{E671D1BB-052C-6614-B8B4-F646CEBD8A29}"/>
                </a:ext>
              </a:extLst>
            </p:cNvPr>
            <p:cNvGrpSpPr/>
            <p:nvPr/>
          </p:nvGrpSpPr>
          <p:grpSpPr>
            <a:xfrm>
              <a:off x="4372620" y="5191339"/>
              <a:ext cx="401756" cy="393433"/>
              <a:chOff x="4282692" y="4990137"/>
              <a:chExt cx="457201" cy="457200"/>
            </a:xfrm>
          </p:grpSpPr>
          <p:sp>
            <p:nvSpPr>
              <p:cNvPr id="77" name="Background">
                <a:extLst>
                  <a:ext uri="{FF2B5EF4-FFF2-40B4-BE49-F238E27FC236}">
                    <a16:creationId xmlns:a16="http://schemas.microsoft.com/office/drawing/2014/main" id="{7AE04E6A-806C-80D2-080F-33D0F70A2D69}"/>
                  </a:ext>
                </a:extLst>
              </p:cNvPr>
              <p:cNvSpPr/>
              <p:nvPr/>
            </p:nvSpPr>
            <p:spPr>
              <a:xfrm>
                <a:off x="4282692" y="4990137"/>
                <a:ext cx="457201" cy="457200"/>
              </a:xfrm>
              <a:prstGeom prst="rect">
                <a:avLst/>
              </a:prstGeom>
              <a:no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DB Sans" panose="020B0502050202020204" pitchFamily="34" charset="0"/>
                  <a:ea typeface="+mn-ea"/>
                  <a:cs typeface="Arial" panose="020B0604020202020204" pitchFamily="34" charset="0"/>
                </a:endParaRPr>
              </a:p>
            </p:txBody>
          </p:sp>
          <p:grpSp>
            <p:nvGrpSpPr>
              <p:cNvPr id="78" name="Grafik 33">
                <a:extLst>
                  <a:ext uri="{FF2B5EF4-FFF2-40B4-BE49-F238E27FC236}">
                    <a16:creationId xmlns:a16="http://schemas.microsoft.com/office/drawing/2014/main" id="{1BD5ABCE-FE89-E001-4E30-2F31C6827788}"/>
                  </a:ext>
                </a:extLst>
              </p:cNvPr>
              <p:cNvGrpSpPr>
                <a:grpSpLocks noChangeAspect="1"/>
              </p:cNvGrpSpPr>
              <p:nvPr/>
            </p:nvGrpSpPr>
            <p:grpSpPr>
              <a:xfrm>
                <a:off x="4327185" y="5034315"/>
                <a:ext cx="368120" cy="368805"/>
                <a:chOff x="5568883" y="3351014"/>
                <a:chExt cx="381242" cy="381951"/>
              </a:xfrm>
              <a:solidFill>
                <a:srgbClr val="334886"/>
              </a:solidFill>
            </p:grpSpPr>
            <p:sp>
              <p:nvSpPr>
                <p:cNvPr id="79" name="Vector">
                  <a:extLst>
                    <a:ext uri="{FF2B5EF4-FFF2-40B4-BE49-F238E27FC236}">
                      <a16:creationId xmlns:a16="http://schemas.microsoft.com/office/drawing/2014/main" id="{AA497279-E57E-9716-6B0F-DF62DF9914C7}"/>
                    </a:ext>
                  </a:extLst>
                </p:cNvPr>
                <p:cNvSpPr/>
                <p:nvPr/>
              </p:nvSpPr>
              <p:spPr bwMode="gray">
                <a:xfrm>
                  <a:off x="5641273" y="3658671"/>
                  <a:ext cx="74294" cy="74294"/>
                </a:xfrm>
                <a:custGeom>
                  <a:avLst/>
                  <a:gdLst>
                    <a:gd name="connsiteX0" fmla="*/ 37147 w 74294"/>
                    <a:gd name="connsiteY0" fmla="*/ 0 h 74294"/>
                    <a:gd name="connsiteX1" fmla="*/ 0 w 74294"/>
                    <a:gd name="connsiteY1" fmla="*/ 37148 h 74294"/>
                    <a:gd name="connsiteX2" fmla="*/ 37147 w 74294"/>
                    <a:gd name="connsiteY2" fmla="*/ 74295 h 74294"/>
                    <a:gd name="connsiteX3" fmla="*/ 74295 w 74294"/>
                    <a:gd name="connsiteY3" fmla="*/ 37148 h 74294"/>
                    <a:gd name="connsiteX4" fmla="*/ 37147 w 74294"/>
                    <a:gd name="connsiteY4" fmla="*/ 0 h 74294"/>
                    <a:gd name="connsiteX5" fmla="*/ 37147 w 74294"/>
                    <a:gd name="connsiteY5" fmla="*/ 54293 h 74294"/>
                    <a:gd name="connsiteX6" fmla="*/ 19050 w 74294"/>
                    <a:gd name="connsiteY6" fmla="*/ 36195 h 74294"/>
                    <a:gd name="connsiteX7" fmla="*/ 37147 w 74294"/>
                    <a:gd name="connsiteY7" fmla="*/ 18098 h 74294"/>
                    <a:gd name="connsiteX8" fmla="*/ 55245 w 74294"/>
                    <a:gd name="connsiteY8" fmla="*/ 36195 h 74294"/>
                    <a:gd name="connsiteX9" fmla="*/ 37147 w 74294"/>
                    <a:gd name="connsiteY9" fmla="*/ 54293 h 7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94" h="74294">
                      <a:moveTo>
                        <a:pt x="37147" y="0"/>
                      </a:moveTo>
                      <a:cubicBezTo>
                        <a:pt x="17145" y="0"/>
                        <a:pt x="0" y="16193"/>
                        <a:pt x="0" y="37148"/>
                      </a:cubicBezTo>
                      <a:cubicBezTo>
                        <a:pt x="0" y="57150"/>
                        <a:pt x="16192" y="74295"/>
                        <a:pt x="37147" y="74295"/>
                      </a:cubicBezTo>
                      <a:cubicBezTo>
                        <a:pt x="57150" y="74295"/>
                        <a:pt x="74295" y="58103"/>
                        <a:pt x="74295" y="37148"/>
                      </a:cubicBezTo>
                      <a:cubicBezTo>
                        <a:pt x="74295" y="16193"/>
                        <a:pt x="58103" y="0"/>
                        <a:pt x="37147" y="0"/>
                      </a:cubicBezTo>
                      <a:close/>
                      <a:moveTo>
                        <a:pt x="37147" y="54293"/>
                      </a:moveTo>
                      <a:cubicBezTo>
                        <a:pt x="27622" y="54293"/>
                        <a:pt x="19050" y="46673"/>
                        <a:pt x="19050" y="36195"/>
                      </a:cubicBezTo>
                      <a:cubicBezTo>
                        <a:pt x="19050" y="25718"/>
                        <a:pt x="26670" y="18098"/>
                        <a:pt x="37147" y="18098"/>
                      </a:cubicBezTo>
                      <a:cubicBezTo>
                        <a:pt x="47625" y="18098"/>
                        <a:pt x="55245" y="25718"/>
                        <a:pt x="55245" y="36195"/>
                      </a:cubicBezTo>
                      <a:cubicBezTo>
                        <a:pt x="55245" y="46673"/>
                        <a:pt x="46672" y="54293"/>
                        <a:pt x="37147" y="5429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81" name="Vector">
                  <a:extLst>
                    <a:ext uri="{FF2B5EF4-FFF2-40B4-BE49-F238E27FC236}">
                      <a16:creationId xmlns:a16="http://schemas.microsoft.com/office/drawing/2014/main" id="{EF2AD1F1-802E-3D97-499E-562E8C0671FD}"/>
                    </a:ext>
                  </a:extLst>
                </p:cNvPr>
                <p:cNvSpPr/>
                <p:nvPr/>
              </p:nvSpPr>
              <p:spPr bwMode="gray">
                <a:xfrm>
                  <a:off x="5799388" y="3658671"/>
                  <a:ext cx="74294" cy="74294"/>
                </a:xfrm>
                <a:custGeom>
                  <a:avLst/>
                  <a:gdLst>
                    <a:gd name="connsiteX0" fmla="*/ 37147 w 74294"/>
                    <a:gd name="connsiteY0" fmla="*/ 0 h 74294"/>
                    <a:gd name="connsiteX1" fmla="*/ 0 w 74294"/>
                    <a:gd name="connsiteY1" fmla="*/ 37148 h 74294"/>
                    <a:gd name="connsiteX2" fmla="*/ 37147 w 74294"/>
                    <a:gd name="connsiteY2" fmla="*/ 74295 h 74294"/>
                    <a:gd name="connsiteX3" fmla="*/ 74295 w 74294"/>
                    <a:gd name="connsiteY3" fmla="*/ 37148 h 74294"/>
                    <a:gd name="connsiteX4" fmla="*/ 37147 w 74294"/>
                    <a:gd name="connsiteY4" fmla="*/ 0 h 74294"/>
                    <a:gd name="connsiteX5" fmla="*/ 37147 w 74294"/>
                    <a:gd name="connsiteY5" fmla="*/ 54293 h 74294"/>
                    <a:gd name="connsiteX6" fmla="*/ 19050 w 74294"/>
                    <a:gd name="connsiteY6" fmla="*/ 36195 h 74294"/>
                    <a:gd name="connsiteX7" fmla="*/ 37147 w 74294"/>
                    <a:gd name="connsiteY7" fmla="*/ 18098 h 74294"/>
                    <a:gd name="connsiteX8" fmla="*/ 55245 w 74294"/>
                    <a:gd name="connsiteY8" fmla="*/ 36195 h 74294"/>
                    <a:gd name="connsiteX9" fmla="*/ 37147 w 74294"/>
                    <a:gd name="connsiteY9" fmla="*/ 54293 h 7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94" h="74294">
                      <a:moveTo>
                        <a:pt x="37147" y="0"/>
                      </a:moveTo>
                      <a:cubicBezTo>
                        <a:pt x="17145" y="0"/>
                        <a:pt x="0" y="16193"/>
                        <a:pt x="0" y="37148"/>
                      </a:cubicBezTo>
                      <a:cubicBezTo>
                        <a:pt x="0" y="57150"/>
                        <a:pt x="16192" y="74295"/>
                        <a:pt x="37147" y="74295"/>
                      </a:cubicBezTo>
                      <a:cubicBezTo>
                        <a:pt x="57150" y="74295"/>
                        <a:pt x="74295" y="58103"/>
                        <a:pt x="74295" y="37148"/>
                      </a:cubicBezTo>
                      <a:cubicBezTo>
                        <a:pt x="74295" y="16193"/>
                        <a:pt x="57150" y="0"/>
                        <a:pt x="37147" y="0"/>
                      </a:cubicBezTo>
                      <a:close/>
                      <a:moveTo>
                        <a:pt x="37147" y="54293"/>
                      </a:moveTo>
                      <a:cubicBezTo>
                        <a:pt x="27622" y="54293"/>
                        <a:pt x="19050" y="46673"/>
                        <a:pt x="19050" y="36195"/>
                      </a:cubicBezTo>
                      <a:cubicBezTo>
                        <a:pt x="19050" y="25718"/>
                        <a:pt x="26670" y="18098"/>
                        <a:pt x="37147" y="18098"/>
                      </a:cubicBezTo>
                      <a:cubicBezTo>
                        <a:pt x="47625" y="18098"/>
                        <a:pt x="55245" y="25718"/>
                        <a:pt x="55245" y="36195"/>
                      </a:cubicBezTo>
                      <a:cubicBezTo>
                        <a:pt x="55245" y="46673"/>
                        <a:pt x="46672" y="54293"/>
                        <a:pt x="37147" y="5429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82" name="Vector">
                  <a:extLst>
                    <a:ext uri="{FF2B5EF4-FFF2-40B4-BE49-F238E27FC236}">
                      <a16:creationId xmlns:a16="http://schemas.microsoft.com/office/drawing/2014/main" id="{ABF8A927-6177-86A3-A078-DBFA8279DE5A}"/>
                    </a:ext>
                  </a:extLst>
                </p:cNvPr>
                <p:cNvSpPr/>
                <p:nvPr/>
              </p:nvSpPr>
              <p:spPr bwMode="gray">
                <a:xfrm>
                  <a:off x="5568883" y="3351014"/>
                  <a:ext cx="381242" cy="324802"/>
                </a:xfrm>
                <a:custGeom>
                  <a:avLst/>
                  <a:gdLst>
                    <a:gd name="connsiteX0" fmla="*/ 376238 w 381242"/>
                    <a:gd name="connsiteY0" fmla="*/ 66675 h 324802"/>
                    <a:gd name="connsiteX1" fmla="*/ 359093 w 381242"/>
                    <a:gd name="connsiteY1" fmla="*/ 58103 h 324802"/>
                    <a:gd name="connsiteX2" fmla="*/ 101918 w 381242"/>
                    <a:gd name="connsiteY2" fmla="*/ 58103 h 324802"/>
                    <a:gd name="connsiteX3" fmla="*/ 92393 w 381242"/>
                    <a:gd name="connsiteY3" fmla="*/ 67628 h 324802"/>
                    <a:gd name="connsiteX4" fmla="*/ 101918 w 381242"/>
                    <a:gd name="connsiteY4" fmla="*/ 77153 h 324802"/>
                    <a:gd name="connsiteX5" fmla="*/ 359093 w 381242"/>
                    <a:gd name="connsiteY5" fmla="*/ 77153 h 324802"/>
                    <a:gd name="connsiteX6" fmla="*/ 361950 w 381242"/>
                    <a:gd name="connsiteY6" fmla="*/ 78105 h 324802"/>
                    <a:gd name="connsiteX7" fmla="*/ 362903 w 381242"/>
                    <a:gd name="connsiteY7" fmla="*/ 80963 h 324802"/>
                    <a:gd name="connsiteX8" fmla="*/ 335280 w 381242"/>
                    <a:gd name="connsiteY8" fmla="*/ 207645 h 324802"/>
                    <a:gd name="connsiteX9" fmla="*/ 317183 w 381242"/>
                    <a:gd name="connsiteY9" fmla="*/ 221933 h 324802"/>
                    <a:gd name="connsiteX10" fmla="*/ 100965 w 381242"/>
                    <a:gd name="connsiteY10" fmla="*/ 221933 h 324802"/>
                    <a:gd name="connsiteX11" fmla="*/ 76200 w 381242"/>
                    <a:gd name="connsiteY11" fmla="*/ 31433 h 324802"/>
                    <a:gd name="connsiteX12" fmla="*/ 40005 w 381242"/>
                    <a:gd name="connsiteY12" fmla="*/ 0 h 324802"/>
                    <a:gd name="connsiteX13" fmla="*/ 9525 w 381242"/>
                    <a:gd name="connsiteY13" fmla="*/ 0 h 324802"/>
                    <a:gd name="connsiteX14" fmla="*/ 0 w 381242"/>
                    <a:gd name="connsiteY14" fmla="*/ 9525 h 324802"/>
                    <a:gd name="connsiteX15" fmla="*/ 9525 w 381242"/>
                    <a:gd name="connsiteY15" fmla="*/ 19050 h 324802"/>
                    <a:gd name="connsiteX16" fmla="*/ 40005 w 381242"/>
                    <a:gd name="connsiteY16" fmla="*/ 19050 h 324802"/>
                    <a:gd name="connsiteX17" fmla="*/ 58103 w 381242"/>
                    <a:gd name="connsiteY17" fmla="*/ 35243 h 324802"/>
                    <a:gd name="connsiteX18" fmla="*/ 82868 w 381242"/>
                    <a:gd name="connsiteY18" fmla="*/ 224790 h 324802"/>
                    <a:gd name="connsiteX19" fmla="*/ 56197 w 381242"/>
                    <a:gd name="connsiteY19" fmla="*/ 260033 h 324802"/>
                    <a:gd name="connsiteX20" fmla="*/ 93345 w 381242"/>
                    <a:gd name="connsiteY20" fmla="*/ 297180 h 324802"/>
                    <a:gd name="connsiteX21" fmla="*/ 292418 w 381242"/>
                    <a:gd name="connsiteY21" fmla="*/ 297180 h 324802"/>
                    <a:gd name="connsiteX22" fmla="*/ 310515 w 381242"/>
                    <a:gd name="connsiteY22" fmla="*/ 315278 h 324802"/>
                    <a:gd name="connsiteX23" fmla="*/ 320040 w 381242"/>
                    <a:gd name="connsiteY23" fmla="*/ 324803 h 324802"/>
                    <a:gd name="connsiteX24" fmla="*/ 329565 w 381242"/>
                    <a:gd name="connsiteY24" fmla="*/ 315278 h 324802"/>
                    <a:gd name="connsiteX25" fmla="*/ 292418 w 381242"/>
                    <a:gd name="connsiteY25" fmla="*/ 278130 h 324802"/>
                    <a:gd name="connsiteX26" fmla="*/ 93345 w 381242"/>
                    <a:gd name="connsiteY26" fmla="*/ 278130 h 324802"/>
                    <a:gd name="connsiteX27" fmla="*/ 75248 w 381242"/>
                    <a:gd name="connsiteY27" fmla="*/ 260033 h 324802"/>
                    <a:gd name="connsiteX28" fmla="*/ 93345 w 381242"/>
                    <a:gd name="connsiteY28" fmla="*/ 241935 h 324802"/>
                    <a:gd name="connsiteX29" fmla="*/ 317183 w 381242"/>
                    <a:gd name="connsiteY29" fmla="*/ 241935 h 324802"/>
                    <a:gd name="connsiteX30" fmla="*/ 353378 w 381242"/>
                    <a:gd name="connsiteY30" fmla="*/ 212408 h 324802"/>
                    <a:gd name="connsiteX31" fmla="*/ 381000 w 381242"/>
                    <a:gd name="connsiteY31" fmla="*/ 85725 h 324802"/>
                    <a:gd name="connsiteX32" fmla="*/ 376238 w 381242"/>
                    <a:gd name="connsiteY32" fmla="*/ 66675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242" h="324802">
                      <a:moveTo>
                        <a:pt x="376238" y="66675"/>
                      </a:moveTo>
                      <a:cubicBezTo>
                        <a:pt x="372428" y="60960"/>
                        <a:pt x="365760" y="58103"/>
                        <a:pt x="359093" y="58103"/>
                      </a:cubicBezTo>
                      <a:lnTo>
                        <a:pt x="101918" y="58103"/>
                      </a:lnTo>
                      <a:cubicBezTo>
                        <a:pt x="96203" y="58103"/>
                        <a:pt x="92393" y="61913"/>
                        <a:pt x="92393" y="67628"/>
                      </a:cubicBezTo>
                      <a:cubicBezTo>
                        <a:pt x="92393" y="73343"/>
                        <a:pt x="96203" y="77153"/>
                        <a:pt x="101918" y="77153"/>
                      </a:cubicBezTo>
                      <a:lnTo>
                        <a:pt x="359093" y="77153"/>
                      </a:lnTo>
                      <a:cubicBezTo>
                        <a:pt x="360045" y="77153"/>
                        <a:pt x="360998" y="78105"/>
                        <a:pt x="361950" y="78105"/>
                      </a:cubicBezTo>
                      <a:cubicBezTo>
                        <a:pt x="361950" y="78105"/>
                        <a:pt x="362903" y="79058"/>
                        <a:pt x="362903" y="80963"/>
                      </a:cubicBezTo>
                      <a:lnTo>
                        <a:pt x="335280" y="207645"/>
                      </a:lnTo>
                      <a:cubicBezTo>
                        <a:pt x="333375" y="216218"/>
                        <a:pt x="325755" y="221933"/>
                        <a:pt x="317183" y="221933"/>
                      </a:cubicBezTo>
                      <a:lnTo>
                        <a:pt x="100965" y="221933"/>
                      </a:lnTo>
                      <a:lnTo>
                        <a:pt x="76200" y="31433"/>
                      </a:lnTo>
                      <a:cubicBezTo>
                        <a:pt x="74295" y="14288"/>
                        <a:pt x="59055" y="0"/>
                        <a:pt x="40005" y="0"/>
                      </a:cubicBezTo>
                      <a:lnTo>
                        <a:pt x="9525" y="0"/>
                      </a:lnTo>
                      <a:cubicBezTo>
                        <a:pt x="3810" y="0"/>
                        <a:pt x="0" y="3810"/>
                        <a:pt x="0" y="9525"/>
                      </a:cubicBezTo>
                      <a:cubicBezTo>
                        <a:pt x="0" y="15240"/>
                        <a:pt x="3810" y="19050"/>
                        <a:pt x="9525" y="19050"/>
                      </a:cubicBezTo>
                      <a:lnTo>
                        <a:pt x="40005" y="19050"/>
                      </a:lnTo>
                      <a:cubicBezTo>
                        <a:pt x="49530" y="19050"/>
                        <a:pt x="57150" y="25717"/>
                        <a:pt x="58103" y="35243"/>
                      </a:cubicBezTo>
                      <a:lnTo>
                        <a:pt x="82868" y="224790"/>
                      </a:lnTo>
                      <a:cubicBezTo>
                        <a:pt x="67628" y="229553"/>
                        <a:pt x="56197" y="242888"/>
                        <a:pt x="56197" y="260033"/>
                      </a:cubicBezTo>
                      <a:cubicBezTo>
                        <a:pt x="56197" y="280035"/>
                        <a:pt x="72390" y="297180"/>
                        <a:pt x="93345" y="297180"/>
                      </a:cubicBezTo>
                      <a:lnTo>
                        <a:pt x="292418" y="297180"/>
                      </a:lnTo>
                      <a:cubicBezTo>
                        <a:pt x="301943" y="297180"/>
                        <a:pt x="310515" y="304800"/>
                        <a:pt x="310515" y="315278"/>
                      </a:cubicBezTo>
                      <a:cubicBezTo>
                        <a:pt x="310515" y="320993"/>
                        <a:pt x="314325" y="324803"/>
                        <a:pt x="320040" y="324803"/>
                      </a:cubicBezTo>
                      <a:cubicBezTo>
                        <a:pt x="325755" y="324803"/>
                        <a:pt x="329565" y="320993"/>
                        <a:pt x="329565" y="315278"/>
                      </a:cubicBezTo>
                      <a:cubicBezTo>
                        <a:pt x="329565" y="295275"/>
                        <a:pt x="313373" y="278130"/>
                        <a:pt x="292418" y="278130"/>
                      </a:cubicBezTo>
                      <a:lnTo>
                        <a:pt x="93345" y="278130"/>
                      </a:lnTo>
                      <a:cubicBezTo>
                        <a:pt x="83820" y="278130"/>
                        <a:pt x="75248" y="270510"/>
                        <a:pt x="75248" y="260033"/>
                      </a:cubicBezTo>
                      <a:cubicBezTo>
                        <a:pt x="75248" y="249555"/>
                        <a:pt x="82868" y="241935"/>
                        <a:pt x="93345" y="241935"/>
                      </a:cubicBezTo>
                      <a:lnTo>
                        <a:pt x="317183" y="241935"/>
                      </a:lnTo>
                      <a:cubicBezTo>
                        <a:pt x="335280" y="241935"/>
                        <a:pt x="350520" y="229553"/>
                        <a:pt x="353378" y="212408"/>
                      </a:cubicBezTo>
                      <a:lnTo>
                        <a:pt x="381000" y="85725"/>
                      </a:lnTo>
                      <a:cubicBezTo>
                        <a:pt x="381953" y="79058"/>
                        <a:pt x="380048" y="72390"/>
                        <a:pt x="376238" y="66675"/>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sp>
              <p:nvSpPr>
                <p:cNvPr id="85" name="Vector">
                  <a:extLst>
                    <a:ext uri="{FF2B5EF4-FFF2-40B4-BE49-F238E27FC236}">
                      <a16:creationId xmlns:a16="http://schemas.microsoft.com/office/drawing/2014/main" id="{790E2647-2735-4FD9-B090-C24F87EDE36E}"/>
                    </a:ext>
                  </a:extLst>
                </p:cNvPr>
                <p:cNvSpPr/>
                <p:nvPr/>
              </p:nvSpPr>
              <p:spPr bwMode="gray">
                <a:xfrm>
                  <a:off x="5676516" y="3436593"/>
                  <a:ext cx="219074" cy="125875"/>
                </a:xfrm>
                <a:custGeom>
                  <a:avLst/>
                  <a:gdLst>
                    <a:gd name="connsiteX0" fmla="*/ 9525 w 219074"/>
                    <a:gd name="connsiteY0" fmla="*/ 75393 h 125875"/>
                    <a:gd name="connsiteX1" fmla="*/ 0 w 219074"/>
                    <a:gd name="connsiteY1" fmla="*/ 84918 h 125875"/>
                    <a:gd name="connsiteX2" fmla="*/ 9525 w 219074"/>
                    <a:gd name="connsiteY2" fmla="*/ 94443 h 125875"/>
                    <a:gd name="connsiteX3" fmla="*/ 46673 w 219074"/>
                    <a:gd name="connsiteY3" fmla="*/ 94443 h 125875"/>
                    <a:gd name="connsiteX4" fmla="*/ 48577 w 219074"/>
                    <a:gd name="connsiteY4" fmla="*/ 116351 h 125875"/>
                    <a:gd name="connsiteX5" fmla="*/ 58102 w 219074"/>
                    <a:gd name="connsiteY5" fmla="*/ 124923 h 125875"/>
                    <a:gd name="connsiteX6" fmla="*/ 59055 w 219074"/>
                    <a:gd name="connsiteY6" fmla="*/ 124923 h 125875"/>
                    <a:gd name="connsiteX7" fmla="*/ 67627 w 219074"/>
                    <a:gd name="connsiteY7" fmla="*/ 114446 h 125875"/>
                    <a:gd name="connsiteX8" fmla="*/ 65723 w 219074"/>
                    <a:gd name="connsiteY8" fmla="*/ 94443 h 125875"/>
                    <a:gd name="connsiteX9" fmla="*/ 101918 w 219074"/>
                    <a:gd name="connsiteY9" fmla="*/ 94443 h 125875"/>
                    <a:gd name="connsiteX10" fmla="*/ 101918 w 219074"/>
                    <a:gd name="connsiteY10" fmla="*/ 115398 h 125875"/>
                    <a:gd name="connsiteX11" fmla="*/ 111443 w 219074"/>
                    <a:gd name="connsiteY11" fmla="*/ 124923 h 125875"/>
                    <a:gd name="connsiteX12" fmla="*/ 120968 w 219074"/>
                    <a:gd name="connsiteY12" fmla="*/ 115398 h 125875"/>
                    <a:gd name="connsiteX13" fmla="*/ 120968 w 219074"/>
                    <a:gd name="connsiteY13" fmla="*/ 94443 h 125875"/>
                    <a:gd name="connsiteX14" fmla="*/ 157162 w 219074"/>
                    <a:gd name="connsiteY14" fmla="*/ 94443 h 125875"/>
                    <a:gd name="connsiteX15" fmla="*/ 154305 w 219074"/>
                    <a:gd name="connsiteY15" fmla="*/ 115398 h 125875"/>
                    <a:gd name="connsiteX16" fmla="*/ 162878 w 219074"/>
                    <a:gd name="connsiteY16" fmla="*/ 125876 h 125875"/>
                    <a:gd name="connsiteX17" fmla="*/ 163830 w 219074"/>
                    <a:gd name="connsiteY17" fmla="*/ 125876 h 125875"/>
                    <a:gd name="connsiteX18" fmla="*/ 173355 w 219074"/>
                    <a:gd name="connsiteY18" fmla="*/ 117303 h 125875"/>
                    <a:gd name="connsiteX19" fmla="*/ 175260 w 219074"/>
                    <a:gd name="connsiteY19" fmla="*/ 95396 h 125875"/>
                    <a:gd name="connsiteX20" fmla="*/ 209550 w 219074"/>
                    <a:gd name="connsiteY20" fmla="*/ 95396 h 125875"/>
                    <a:gd name="connsiteX21" fmla="*/ 219075 w 219074"/>
                    <a:gd name="connsiteY21" fmla="*/ 85871 h 125875"/>
                    <a:gd name="connsiteX22" fmla="*/ 209550 w 219074"/>
                    <a:gd name="connsiteY22" fmla="*/ 76346 h 125875"/>
                    <a:gd name="connsiteX23" fmla="*/ 176212 w 219074"/>
                    <a:gd name="connsiteY23" fmla="*/ 76346 h 125875"/>
                    <a:gd name="connsiteX24" fmla="*/ 179070 w 219074"/>
                    <a:gd name="connsiteY24" fmla="*/ 43008 h 125875"/>
                    <a:gd name="connsiteX25" fmla="*/ 209550 w 219074"/>
                    <a:gd name="connsiteY25" fmla="*/ 43008 h 125875"/>
                    <a:gd name="connsiteX26" fmla="*/ 219075 w 219074"/>
                    <a:gd name="connsiteY26" fmla="*/ 33483 h 125875"/>
                    <a:gd name="connsiteX27" fmla="*/ 209550 w 219074"/>
                    <a:gd name="connsiteY27" fmla="*/ 23958 h 125875"/>
                    <a:gd name="connsiteX28" fmla="*/ 180023 w 219074"/>
                    <a:gd name="connsiteY28" fmla="*/ 23958 h 125875"/>
                    <a:gd name="connsiteX29" fmla="*/ 180975 w 219074"/>
                    <a:gd name="connsiteY29" fmla="*/ 10623 h 125875"/>
                    <a:gd name="connsiteX30" fmla="*/ 172403 w 219074"/>
                    <a:gd name="connsiteY30" fmla="*/ 146 h 125875"/>
                    <a:gd name="connsiteX31" fmla="*/ 161925 w 219074"/>
                    <a:gd name="connsiteY31" fmla="*/ 8718 h 125875"/>
                    <a:gd name="connsiteX32" fmla="*/ 160973 w 219074"/>
                    <a:gd name="connsiteY32" fmla="*/ 23006 h 125875"/>
                    <a:gd name="connsiteX33" fmla="*/ 120015 w 219074"/>
                    <a:gd name="connsiteY33" fmla="*/ 23006 h 125875"/>
                    <a:gd name="connsiteX34" fmla="*/ 120015 w 219074"/>
                    <a:gd name="connsiteY34" fmla="*/ 9671 h 125875"/>
                    <a:gd name="connsiteX35" fmla="*/ 110490 w 219074"/>
                    <a:gd name="connsiteY35" fmla="*/ 146 h 125875"/>
                    <a:gd name="connsiteX36" fmla="*/ 100965 w 219074"/>
                    <a:gd name="connsiteY36" fmla="*/ 9671 h 125875"/>
                    <a:gd name="connsiteX37" fmla="*/ 100965 w 219074"/>
                    <a:gd name="connsiteY37" fmla="*/ 23006 h 125875"/>
                    <a:gd name="connsiteX38" fmla="*/ 60008 w 219074"/>
                    <a:gd name="connsiteY38" fmla="*/ 23006 h 125875"/>
                    <a:gd name="connsiteX39" fmla="*/ 59055 w 219074"/>
                    <a:gd name="connsiteY39" fmla="*/ 8718 h 125875"/>
                    <a:gd name="connsiteX40" fmla="*/ 48577 w 219074"/>
                    <a:gd name="connsiteY40" fmla="*/ 146 h 125875"/>
                    <a:gd name="connsiteX41" fmla="*/ 40005 w 219074"/>
                    <a:gd name="connsiteY41" fmla="*/ 10623 h 125875"/>
                    <a:gd name="connsiteX42" fmla="*/ 40958 w 219074"/>
                    <a:gd name="connsiteY42" fmla="*/ 23958 h 125875"/>
                    <a:gd name="connsiteX43" fmla="*/ 9525 w 219074"/>
                    <a:gd name="connsiteY43" fmla="*/ 23958 h 125875"/>
                    <a:gd name="connsiteX44" fmla="*/ 0 w 219074"/>
                    <a:gd name="connsiteY44" fmla="*/ 33483 h 125875"/>
                    <a:gd name="connsiteX45" fmla="*/ 9525 w 219074"/>
                    <a:gd name="connsiteY45" fmla="*/ 43008 h 125875"/>
                    <a:gd name="connsiteX46" fmla="*/ 42862 w 219074"/>
                    <a:gd name="connsiteY46" fmla="*/ 43008 h 125875"/>
                    <a:gd name="connsiteX47" fmla="*/ 45720 w 219074"/>
                    <a:gd name="connsiteY47" fmla="*/ 76346 h 125875"/>
                    <a:gd name="connsiteX48" fmla="*/ 9525 w 219074"/>
                    <a:gd name="connsiteY48" fmla="*/ 76346 h 125875"/>
                    <a:gd name="connsiteX49" fmla="*/ 160020 w 219074"/>
                    <a:gd name="connsiteY49" fmla="*/ 42056 h 125875"/>
                    <a:gd name="connsiteX50" fmla="*/ 157162 w 219074"/>
                    <a:gd name="connsiteY50" fmla="*/ 75393 h 125875"/>
                    <a:gd name="connsiteX51" fmla="*/ 120015 w 219074"/>
                    <a:gd name="connsiteY51" fmla="*/ 75393 h 125875"/>
                    <a:gd name="connsiteX52" fmla="*/ 120015 w 219074"/>
                    <a:gd name="connsiteY52" fmla="*/ 42056 h 125875"/>
                    <a:gd name="connsiteX53" fmla="*/ 160020 w 219074"/>
                    <a:gd name="connsiteY53" fmla="*/ 42056 h 125875"/>
                    <a:gd name="connsiteX54" fmla="*/ 61912 w 219074"/>
                    <a:gd name="connsiteY54" fmla="*/ 42056 h 125875"/>
                    <a:gd name="connsiteX55" fmla="*/ 101918 w 219074"/>
                    <a:gd name="connsiteY55" fmla="*/ 42056 h 125875"/>
                    <a:gd name="connsiteX56" fmla="*/ 101918 w 219074"/>
                    <a:gd name="connsiteY56" fmla="*/ 75393 h 125875"/>
                    <a:gd name="connsiteX57" fmla="*/ 64770 w 219074"/>
                    <a:gd name="connsiteY57" fmla="*/ 75393 h 125875"/>
                    <a:gd name="connsiteX58" fmla="*/ 61912 w 219074"/>
                    <a:gd name="connsiteY58" fmla="*/ 42056 h 12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19074" h="125875">
                      <a:moveTo>
                        <a:pt x="9525" y="75393"/>
                      </a:moveTo>
                      <a:cubicBezTo>
                        <a:pt x="3810" y="75393"/>
                        <a:pt x="0" y="79203"/>
                        <a:pt x="0" y="84918"/>
                      </a:cubicBezTo>
                      <a:cubicBezTo>
                        <a:pt x="0" y="90633"/>
                        <a:pt x="3810" y="94443"/>
                        <a:pt x="9525" y="94443"/>
                      </a:cubicBezTo>
                      <a:lnTo>
                        <a:pt x="46673" y="94443"/>
                      </a:lnTo>
                      <a:lnTo>
                        <a:pt x="48577" y="116351"/>
                      </a:lnTo>
                      <a:cubicBezTo>
                        <a:pt x="48577" y="121113"/>
                        <a:pt x="53340" y="124923"/>
                        <a:pt x="58102" y="124923"/>
                      </a:cubicBezTo>
                      <a:cubicBezTo>
                        <a:pt x="58102" y="124923"/>
                        <a:pt x="58102" y="124923"/>
                        <a:pt x="59055" y="124923"/>
                      </a:cubicBezTo>
                      <a:cubicBezTo>
                        <a:pt x="64770" y="124923"/>
                        <a:pt x="68580" y="120161"/>
                        <a:pt x="67627" y="114446"/>
                      </a:cubicBezTo>
                      <a:lnTo>
                        <a:pt x="65723" y="94443"/>
                      </a:lnTo>
                      <a:lnTo>
                        <a:pt x="101918" y="94443"/>
                      </a:lnTo>
                      <a:lnTo>
                        <a:pt x="101918" y="115398"/>
                      </a:lnTo>
                      <a:cubicBezTo>
                        <a:pt x="101918" y="121113"/>
                        <a:pt x="105727" y="124923"/>
                        <a:pt x="111443" y="124923"/>
                      </a:cubicBezTo>
                      <a:cubicBezTo>
                        <a:pt x="117158" y="124923"/>
                        <a:pt x="120968" y="121113"/>
                        <a:pt x="120968" y="115398"/>
                      </a:cubicBezTo>
                      <a:lnTo>
                        <a:pt x="120968" y="94443"/>
                      </a:lnTo>
                      <a:lnTo>
                        <a:pt x="157162" y="94443"/>
                      </a:lnTo>
                      <a:lnTo>
                        <a:pt x="154305" y="115398"/>
                      </a:lnTo>
                      <a:cubicBezTo>
                        <a:pt x="154305" y="121113"/>
                        <a:pt x="158115" y="124923"/>
                        <a:pt x="162878" y="125876"/>
                      </a:cubicBezTo>
                      <a:cubicBezTo>
                        <a:pt x="162878" y="125876"/>
                        <a:pt x="162878" y="125876"/>
                        <a:pt x="163830" y="125876"/>
                      </a:cubicBezTo>
                      <a:cubicBezTo>
                        <a:pt x="168593" y="125876"/>
                        <a:pt x="173355" y="122066"/>
                        <a:pt x="173355" y="117303"/>
                      </a:cubicBezTo>
                      <a:lnTo>
                        <a:pt x="175260" y="95396"/>
                      </a:lnTo>
                      <a:lnTo>
                        <a:pt x="209550" y="95396"/>
                      </a:lnTo>
                      <a:cubicBezTo>
                        <a:pt x="215265" y="95396"/>
                        <a:pt x="219075" y="91586"/>
                        <a:pt x="219075" y="85871"/>
                      </a:cubicBezTo>
                      <a:cubicBezTo>
                        <a:pt x="219075" y="80156"/>
                        <a:pt x="215265" y="76346"/>
                        <a:pt x="209550" y="76346"/>
                      </a:cubicBezTo>
                      <a:lnTo>
                        <a:pt x="176212" y="76346"/>
                      </a:lnTo>
                      <a:lnTo>
                        <a:pt x="179070" y="43008"/>
                      </a:lnTo>
                      <a:lnTo>
                        <a:pt x="209550" y="43008"/>
                      </a:lnTo>
                      <a:cubicBezTo>
                        <a:pt x="215265" y="43008"/>
                        <a:pt x="219075" y="39198"/>
                        <a:pt x="219075" y="33483"/>
                      </a:cubicBezTo>
                      <a:cubicBezTo>
                        <a:pt x="219075" y="27768"/>
                        <a:pt x="215265" y="23958"/>
                        <a:pt x="209550" y="23958"/>
                      </a:cubicBezTo>
                      <a:lnTo>
                        <a:pt x="180023" y="23958"/>
                      </a:lnTo>
                      <a:lnTo>
                        <a:pt x="180975" y="10623"/>
                      </a:lnTo>
                      <a:cubicBezTo>
                        <a:pt x="180975" y="4908"/>
                        <a:pt x="177165" y="1098"/>
                        <a:pt x="172403" y="146"/>
                      </a:cubicBezTo>
                      <a:cubicBezTo>
                        <a:pt x="166687" y="146"/>
                        <a:pt x="162878" y="3956"/>
                        <a:pt x="161925" y="8718"/>
                      </a:cubicBezTo>
                      <a:lnTo>
                        <a:pt x="160973" y="23006"/>
                      </a:lnTo>
                      <a:lnTo>
                        <a:pt x="120015" y="23006"/>
                      </a:lnTo>
                      <a:lnTo>
                        <a:pt x="120015" y="9671"/>
                      </a:lnTo>
                      <a:cubicBezTo>
                        <a:pt x="120015" y="3956"/>
                        <a:pt x="116205" y="146"/>
                        <a:pt x="110490" y="146"/>
                      </a:cubicBezTo>
                      <a:cubicBezTo>
                        <a:pt x="104775" y="146"/>
                        <a:pt x="100965" y="3956"/>
                        <a:pt x="100965" y="9671"/>
                      </a:cubicBezTo>
                      <a:lnTo>
                        <a:pt x="100965" y="23006"/>
                      </a:lnTo>
                      <a:lnTo>
                        <a:pt x="60008" y="23006"/>
                      </a:lnTo>
                      <a:lnTo>
                        <a:pt x="59055" y="8718"/>
                      </a:lnTo>
                      <a:cubicBezTo>
                        <a:pt x="59055" y="3003"/>
                        <a:pt x="54293" y="-807"/>
                        <a:pt x="48577" y="146"/>
                      </a:cubicBezTo>
                      <a:cubicBezTo>
                        <a:pt x="42862" y="146"/>
                        <a:pt x="39052" y="4908"/>
                        <a:pt x="40005" y="10623"/>
                      </a:cubicBezTo>
                      <a:lnTo>
                        <a:pt x="40958" y="23958"/>
                      </a:lnTo>
                      <a:lnTo>
                        <a:pt x="9525" y="23958"/>
                      </a:lnTo>
                      <a:cubicBezTo>
                        <a:pt x="3810" y="23958"/>
                        <a:pt x="0" y="27768"/>
                        <a:pt x="0" y="33483"/>
                      </a:cubicBezTo>
                      <a:cubicBezTo>
                        <a:pt x="0" y="39198"/>
                        <a:pt x="3810" y="43008"/>
                        <a:pt x="9525" y="43008"/>
                      </a:cubicBezTo>
                      <a:lnTo>
                        <a:pt x="42862" y="43008"/>
                      </a:lnTo>
                      <a:lnTo>
                        <a:pt x="45720" y="76346"/>
                      </a:lnTo>
                      <a:lnTo>
                        <a:pt x="9525" y="76346"/>
                      </a:lnTo>
                      <a:close/>
                      <a:moveTo>
                        <a:pt x="160020" y="42056"/>
                      </a:moveTo>
                      <a:lnTo>
                        <a:pt x="157162" y="75393"/>
                      </a:lnTo>
                      <a:lnTo>
                        <a:pt x="120015" y="75393"/>
                      </a:lnTo>
                      <a:lnTo>
                        <a:pt x="120015" y="42056"/>
                      </a:lnTo>
                      <a:lnTo>
                        <a:pt x="160020" y="42056"/>
                      </a:lnTo>
                      <a:close/>
                      <a:moveTo>
                        <a:pt x="61912" y="42056"/>
                      </a:moveTo>
                      <a:lnTo>
                        <a:pt x="101918" y="42056"/>
                      </a:lnTo>
                      <a:lnTo>
                        <a:pt x="101918" y="75393"/>
                      </a:lnTo>
                      <a:lnTo>
                        <a:pt x="64770" y="75393"/>
                      </a:lnTo>
                      <a:lnTo>
                        <a:pt x="61912" y="42056"/>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3417E"/>
                    </a:solidFill>
                    <a:effectLst/>
                    <a:uLnTx/>
                    <a:uFillTx/>
                    <a:latin typeface="Arial Narrow"/>
                    <a:ea typeface="+mn-ea"/>
                    <a:cs typeface="+mn-cs"/>
                  </a:endParaRPr>
                </a:p>
              </p:txBody>
            </p:sp>
          </p:grpSp>
        </p:grpSp>
        <p:sp>
          <p:nvSpPr>
            <p:cNvPr id="101" name="Textbox">
              <a:extLst>
                <a:ext uri="{FF2B5EF4-FFF2-40B4-BE49-F238E27FC236}">
                  <a16:creationId xmlns:a16="http://schemas.microsoft.com/office/drawing/2014/main" id="{938F0DBC-27F2-AA75-A145-D457DE432754}"/>
                </a:ext>
              </a:extLst>
            </p:cNvPr>
            <p:cNvSpPr txBox="1">
              <a:spLocks/>
            </p:cNvSpPr>
            <p:nvPr/>
          </p:nvSpPr>
          <p:spPr>
            <a:xfrm>
              <a:off x="4537510" y="3300710"/>
              <a:ext cx="511520" cy="23474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Narrow" pitchFamily="34" charset="0"/>
                  <a:ea typeface="+mn-ea"/>
                  <a:cs typeface="Arial" pitchFamily="34" charset="0"/>
                </a:rPr>
                <a:t>$</a:t>
              </a:r>
              <a:endParaRPr kumimoji="0" lang="en-US" sz="1400" b="0" i="0" u="none" strike="noStrike" kern="1200" cap="none" spc="0" normalizeH="0" baseline="0" noProof="0" dirty="0">
                <a:ln>
                  <a:noFill/>
                </a:ln>
                <a:solidFill>
                  <a:srgbClr val="FFFFFF"/>
                </a:solidFill>
                <a:effectLst/>
                <a:uLnTx/>
                <a:uFillTx/>
                <a:latin typeface="Arial Narrow" pitchFamily="34" charset="0"/>
                <a:ea typeface="+mn-ea"/>
                <a:cs typeface="Arial" pitchFamily="34" charset="0"/>
              </a:endParaRPr>
            </a:p>
          </p:txBody>
        </p:sp>
        <p:sp>
          <p:nvSpPr>
            <p:cNvPr id="104" name="Textbox">
              <a:extLst>
                <a:ext uri="{FF2B5EF4-FFF2-40B4-BE49-F238E27FC236}">
                  <a16:creationId xmlns:a16="http://schemas.microsoft.com/office/drawing/2014/main" id="{63110874-6408-D7D5-8407-A6A40102ADE9}"/>
                </a:ext>
              </a:extLst>
            </p:cNvPr>
            <p:cNvSpPr txBox="1">
              <a:spLocks/>
            </p:cNvSpPr>
            <p:nvPr/>
          </p:nvSpPr>
          <p:spPr>
            <a:xfrm>
              <a:off x="1386475" y="3300710"/>
              <a:ext cx="511520" cy="23474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Narrow" pitchFamily="34" charset="0"/>
                  <a:ea typeface="+mn-ea"/>
                  <a:cs typeface="Arial" pitchFamily="34" charset="0"/>
                </a:rPr>
                <a:t>$</a:t>
              </a:r>
              <a:endParaRPr kumimoji="0" lang="en-US" sz="1400" b="0" i="0" u="none" strike="noStrike" kern="1200" cap="none" spc="0" normalizeH="0" baseline="0" noProof="0" dirty="0">
                <a:ln>
                  <a:noFill/>
                </a:ln>
                <a:solidFill>
                  <a:srgbClr val="FFFFFF"/>
                </a:solidFill>
                <a:effectLst/>
                <a:uLnTx/>
                <a:uFillTx/>
                <a:latin typeface="Arial Narrow" pitchFamily="34" charset="0"/>
                <a:ea typeface="+mn-ea"/>
                <a:cs typeface="Arial" pitchFamily="34" charset="0"/>
              </a:endParaRPr>
            </a:p>
          </p:txBody>
        </p:sp>
        <p:sp>
          <p:nvSpPr>
            <p:cNvPr id="105" name="Textbox">
              <a:extLst>
                <a:ext uri="{FF2B5EF4-FFF2-40B4-BE49-F238E27FC236}">
                  <a16:creationId xmlns:a16="http://schemas.microsoft.com/office/drawing/2014/main" id="{770EBC11-79FC-8557-5BAC-5AF2F0E59F61}"/>
                </a:ext>
              </a:extLst>
            </p:cNvPr>
            <p:cNvSpPr txBox="1">
              <a:spLocks/>
            </p:cNvSpPr>
            <p:nvPr/>
          </p:nvSpPr>
          <p:spPr>
            <a:xfrm>
              <a:off x="2350716" y="1466149"/>
              <a:ext cx="1631070" cy="3537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chemeClr val="accent2"/>
                </a:buClr>
                <a:buFont typeface="DB Sans" panose="020B0502050202020204" pitchFamily="34" charset="0"/>
                <a:buNone/>
                <a:defRPr sz="1600" kern="1200">
                  <a:solidFill>
                    <a:schemeClr val="tx1"/>
                  </a:solidFill>
                  <a:latin typeface="+mn-lt"/>
                  <a:ea typeface="+mn-ea"/>
                  <a:cs typeface="+mn-cs"/>
                </a:defRPr>
              </a:lvl1pPr>
              <a:lvl2pPr marL="17780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357188" indent="-179388"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539750"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717550" indent="-1778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
                  <a:srgbClr val="0AAEFA"/>
                </a:buClr>
                <a:buSzTx/>
                <a:buFont typeface="DB Sans" panose="020B0502050202020204" pitchFamily="34" charset="0"/>
                <a:buNone/>
                <a:tabLst/>
                <a:defRPr/>
              </a:pPr>
              <a:r>
                <a:rPr kumimoji="0" lang="en-US" sz="1400" b="1" i="0" u="none" strike="noStrike" kern="1200" cap="none" spc="0" normalizeH="0" baseline="0" noProof="0" dirty="0">
                  <a:ln>
                    <a:noFill/>
                  </a:ln>
                  <a:solidFill>
                    <a:srgbClr val="70AD47"/>
                  </a:solidFill>
                  <a:effectLst/>
                  <a:uLnTx/>
                  <a:uFillTx/>
                  <a:latin typeface="Arial Narrow" pitchFamily="34" charset="0"/>
                  <a:ea typeface="+mn-ea"/>
                  <a:cs typeface="Arial" pitchFamily="34" charset="0"/>
                </a:rPr>
                <a:t>PROGRAM FUNDING</a:t>
              </a:r>
            </a:p>
          </p:txBody>
        </p:sp>
        <p:sp>
          <p:nvSpPr>
            <p:cNvPr id="117" name="Arrow: Down 116">
              <a:extLst>
                <a:ext uri="{FF2B5EF4-FFF2-40B4-BE49-F238E27FC236}">
                  <a16:creationId xmlns:a16="http://schemas.microsoft.com/office/drawing/2014/main" id="{723B8264-7978-5E77-34D7-64C548EC0611}"/>
                </a:ext>
              </a:extLst>
            </p:cNvPr>
            <p:cNvSpPr/>
            <p:nvPr/>
          </p:nvSpPr>
          <p:spPr>
            <a:xfrm rot="19100246">
              <a:off x="3894243" y="3670819"/>
              <a:ext cx="399228" cy="749808"/>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Narrow"/>
                  <a:ea typeface="+mn-ea"/>
                  <a:cs typeface="+mn-cs"/>
                </a:rPr>
                <a:t>$</a:t>
              </a:r>
            </a:p>
          </p:txBody>
        </p:sp>
        <p:sp>
          <p:nvSpPr>
            <p:cNvPr id="118" name="Arrow: Down 117">
              <a:extLst>
                <a:ext uri="{FF2B5EF4-FFF2-40B4-BE49-F238E27FC236}">
                  <a16:creationId xmlns:a16="http://schemas.microsoft.com/office/drawing/2014/main" id="{4017C6E5-758A-0DB8-890C-1778A34E18CC}"/>
                </a:ext>
              </a:extLst>
            </p:cNvPr>
            <p:cNvSpPr/>
            <p:nvPr/>
          </p:nvSpPr>
          <p:spPr>
            <a:xfrm rot="2716717">
              <a:off x="2043792" y="3667678"/>
              <a:ext cx="399228" cy="753288"/>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Narrow"/>
                  <a:ea typeface="+mn-ea"/>
                  <a:cs typeface="+mn-cs"/>
                </a:rPr>
                <a:t>$</a:t>
              </a:r>
            </a:p>
          </p:txBody>
        </p:sp>
        <p:sp>
          <p:nvSpPr>
            <p:cNvPr id="121" name="Arrow: Down 120">
              <a:extLst>
                <a:ext uri="{FF2B5EF4-FFF2-40B4-BE49-F238E27FC236}">
                  <a16:creationId xmlns:a16="http://schemas.microsoft.com/office/drawing/2014/main" id="{E3E1BCBB-C2F5-F5FF-ACFB-1AAD20BC5C7D}"/>
                </a:ext>
              </a:extLst>
            </p:cNvPr>
            <p:cNvSpPr/>
            <p:nvPr/>
          </p:nvSpPr>
          <p:spPr>
            <a:xfrm rot="16200000">
              <a:off x="3013652" y="3944377"/>
              <a:ext cx="399228" cy="1859832"/>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vert="vert"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Narrow"/>
                  <a:ea typeface="+mn-ea"/>
                  <a:cs typeface="+mn-cs"/>
                </a:rPr>
                <a:t>$</a:t>
              </a:r>
            </a:p>
          </p:txBody>
        </p:sp>
      </p:grpSp>
      <p:sp>
        <p:nvSpPr>
          <p:cNvPr id="135" name="masterFootnote">
            <a:extLst>
              <a:ext uri="{FF2B5EF4-FFF2-40B4-BE49-F238E27FC236}">
                <a16:creationId xmlns:a16="http://schemas.microsoft.com/office/drawing/2014/main" id="{3BA7D6E5-F1D1-4B04-C762-B3126917E274}"/>
              </a:ext>
            </a:extLst>
          </p:cNvPr>
          <p:cNvSpPr txBox="1"/>
          <p:nvPr/>
        </p:nvSpPr>
        <p:spPr>
          <a:xfrm>
            <a:off x="371363" y="6168863"/>
            <a:ext cx="0" cy="144016"/>
          </a:xfrm>
          <a:prstGeom prst="rect">
            <a:avLst/>
          </a:prstGeom>
        </p:spPr>
        <p:txBody>
          <a:bodyPr vert="horz" wrap="none" lIns="0" tIns="0" rIns="0" bIns="0" rtlCol="0" anchor="b" anchorCtr="0">
            <a:noAutofit/>
          </a:bodyPr>
          <a:lstStyle>
            <a:defPPr>
              <a:defRPr lang="de-DE"/>
            </a:defPPr>
            <a:lvl1pPr>
              <a:defRPr sz="1000"/>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78C96"/>
                </a:solidFill>
                <a:effectLst/>
                <a:uLnTx/>
                <a:uFillTx/>
                <a:latin typeface="Arial Narrow"/>
                <a:ea typeface="+mn-ea"/>
                <a:cs typeface="+mn-cs"/>
              </a:rPr>
              <a:t>(1) This estimate is annual, direct only (i.e., salaries) in 2019 dollars, and is operations-focused</a:t>
            </a:r>
          </a:p>
        </p:txBody>
      </p:sp>
    </p:spTree>
    <p:extLst>
      <p:ext uri="{BB962C8B-B14F-4D97-AF65-F5344CB8AC3E}">
        <p14:creationId xmlns:p14="http://schemas.microsoft.com/office/powerpoint/2010/main" val="21509081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E5D59-DFF8-A6D7-E9C8-ED03582CFF2C}"/>
            </a:ext>
          </a:extLst>
        </p:cNvPr>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8F8E5C0-F3A1-B05F-EC8C-8F25EA695F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426" imgH="426" progId="TCLayout.ActiveDocument.1">
                  <p:embed/>
                </p:oleObj>
              </mc:Choice>
              <mc:Fallback>
                <p:oleObj name="think-cell Slide" r:id="rId6" imgW="426" imgH="426" progId="TCLayout.ActiveDocument.1">
                  <p:embed/>
                  <p:pic>
                    <p:nvPicPr>
                      <p:cNvPr id="15" name="Object 14" hidden="1">
                        <a:extLst>
                          <a:ext uri="{FF2B5EF4-FFF2-40B4-BE49-F238E27FC236}">
                            <a16:creationId xmlns:a16="http://schemas.microsoft.com/office/drawing/2014/main" id="{18F8E5C0-F3A1-B05F-EC8C-8F25EA695F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Title 5">
            <a:extLst>
              <a:ext uri="{FF2B5EF4-FFF2-40B4-BE49-F238E27FC236}">
                <a16:creationId xmlns:a16="http://schemas.microsoft.com/office/drawing/2014/main" id="{70B9DF5A-3C67-C903-E4FA-C5742A60FCA6}"/>
              </a:ext>
            </a:extLst>
          </p:cNvPr>
          <p:cNvSpPr>
            <a:spLocks noGrp="1"/>
          </p:cNvSpPr>
          <p:nvPr>
            <p:ph type="title"/>
          </p:nvPr>
        </p:nvSpPr>
        <p:spPr>
          <a:xfrm>
            <a:off x="316667" y="109954"/>
            <a:ext cx="11468100" cy="815975"/>
          </a:xfrm>
        </p:spPr>
        <p:txBody>
          <a:bodyPr vert="horz" lIns="91440" tIns="45720" rIns="91440" bIns="45720" rtlCol="0" anchor="ctr">
            <a:noAutofit/>
          </a:bodyPr>
          <a:lstStyle/>
          <a:p>
            <a:r>
              <a:rPr lang="en-US" sz="3200" dirty="0">
                <a:ea typeface="+mj-lt"/>
                <a:cs typeface="+mj-lt"/>
              </a:rPr>
              <a:t>High-Speed Rail’s state-of-the-art American-made trains will have world-class interiors that inspire customers</a:t>
            </a:r>
            <a:endParaRPr lang="en-US" dirty="0"/>
          </a:p>
        </p:txBody>
      </p:sp>
      <p:sp>
        <p:nvSpPr>
          <p:cNvPr id="37" name="Slide Number Placeholder 4">
            <a:extLst>
              <a:ext uri="{FF2B5EF4-FFF2-40B4-BE49-F238E27FC236}">
                <a16:creationId xmlns:a16="http://schemas.microsoft.com/office/drawing/2014/main" id="{BF5220CF-C510-07F2-3B77-FE5A0F743FE8}"/>
              </a:ext>
              <a:ext uri="{C183D7F6-B498-43B3-948B-1728B52AA6E4}">
                <adec:decorative xmlns:adec="http://schemas.microsoft.com/office/drawing/2017/decorative" xmlns="" val="1"/>
              </a:ext>
            </a:extLst>
          </p:cNvPr>
          <p:cNvSpPr>
            <a:spLocks noGrp="1"/>
          </p:cNvSpPr>
          <p:nvPr>
            <p:ph type="sldNum" sz="quarter" idx="12"/>
          </p:nvPr>
        </p:nvSpPr>
        <p:spPr>
          <a:xfrm>
            <a:off x="11665499" y="6564391"/>
            <a:ext cx="498790" cy="182880"/>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7BB30962-3B35-43FE-9766-17C8D188954C}" type="slidenum">
              <a:rPr kumimoji="0" lang="en-US" sz="11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dirty="0">
              <a:ln>
                <a:noFill/>
              </a:ln>
              <a:solidFill>
                <a:prstClr val="white"/>
              </a:solidFill>
              <a:effectLst/>
              <a:uLnTx/>
              <a:uFillTx/>
              <a:latin typeface="Arial Narrow"/>
              <a:ea typeface="+mn-ea"/>
              <a:cs typeface="+mn-cs"/>
            </a:endParaRPr>
          </a:p>
        </p:txBody>
      </p:sp>
      <p:grpSp>
        <p:nvGrpSpPr>
          <p:cNvPr id="122" name="Gruppieren 1">
            <a:extLst>
              <a:ext uri="{FF2B5EF4-FFF2-40B4-BE49-F238E27FC236}">
                <a16:creationId xmlns:a16="http://schemas.microsoft.com/office/drawing/2014/main" id="{17833A53-24D7-E472-B404-DB6FC211A0D2}"/>
              </a:ext>
            </a:extLst>
          </p:cNvPr>
          <p:cNvGrpSpPr/>
          <p:nvPr/>
        </p:nvGrpSpPr>
        <p:grpSpPr>
          <a:xfrm>
            <a:off x="5892411" y="1628454"/>
            <a:ext cx="402297" cy="4321175"/>
            <a:chOff x="5792188" y="1808162"/>
            <a:chExt cx="402297" cy="4321175"/>
          </a:xfrm>
        </p:grpSpPr>
        <p:pic>
          <p:nvPicPr>
            <p:cNvPr id="123" name="Grafik 29">
              <a:extLst>
                <a:ext uri="{FF2B5EF4-FFF2-40B4-BE49-F238E27FC236}">
                  <a16:creationId xmlns:a16="http://schemas.microsoft.com/office/drawing/2014/main" id="{F534DB66-CED6-1324-CFF4-08B20CBE087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5792188" y="3572688"/>
              <a:ext cx="402297" cy="792087"/>
            </a:xfrm>
            <a:prstGeom prst="rect">
              <a:avLst/>
            </a:prstGeom>
          </p:spPr>
        </p:pic>
        <p:cxnSp>
          <p:nvCxnSpPr>
            <p:cNvPr id="124" name="Gerader Verbinder 113">
              <a:extLst>
                <a:ext uri="{FF2B5EF4-FFF2-40B4-BE49-F238E27FC236}">
                  <a16:creationId xmlns:a16="http://schemas.microsoft.com/office/drawing/2014/main" id="{AA82EAD1-9184-26CC-352B-27D023CE9C1C}"/>
                </a:ext>
              </a:extLst>
            </p:cNvPr>
            <p:cNvCxnSpPr>
              <a:cxnSpLocks/>
              <a:endCxn id="123" idx="0"/>
            </p:cNvCxnSpPr>
            <p:nvPr/>
          </p:nvCxnSpPr>
          <p:spPr>
            <a:xfrm>
              <a:off x="5993336" y="1808162"/>
              <a:ext cx="1" cy="17645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5" name="Gerader Verbinder 115">
              <a:extLst>
                <a:ext uri="{FF2B5EF4-FFF2-40B4-BE49-F238E27FC236}">
                  <a16:creationId xmlns:a16="http://schemas.microsoft.com/office/drawing/2014/main" id="{E471EAE4-D3B9-1827-57B8-055D772B217C}"/>
                </a:ext>
              </a:extLst>
            </p:cNvPr>
            <p:cNvCxnSpPr>
              <a:cxnSpLocks/>
              <a:stCxn id="123" idx="2"/>
            </p:cNvCxnSpPr>
            <p:nvPr/>
          </p:nvCxnSpPr>
          <p:spPr>
            <a:xfrm>
              <a:off x="5993337" y="4364775"/>
              <a:ext cx="0" cy="176456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7" name="Footer Placeholder 46">
            <a:extLst>
              <a:ext uri="{FF2B5EF4-FFF2-40B4-BE49-F238E27FC236}">
                <a16:creationId xmlns:a16="http://schemas.microsoft.com/office/drawing/2014/main" id="{D81DFC85-D9C1-6313-0FA4-EB3466E87CAA}"/>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Narrow"/>
                <a:ea typeface="+mn-ea"/>
                <a:cs typeface="+mn-cs"/>
              </a:rPr>
              <a:t>2024 Draft Business Plan Update</a:t>
            </a:r>
          </a:p>
        </p:txBody>
      </p:sp>
      <p:sp>
        <p:nvSpPr>
          <p:cNvPr id="8" name="masterTextbox5">
            <a:extLst>
              <a:ext uri="{FF2B5EF4-FFF2-40B4-BE49-F238E27FC236}">
                <a16:creationId xmlns:a16="http://schemas.microsoft.com/office/drawing/2014/main" id="{6A50C2B2-4052-B69B-CD14-74845BCFE25A}"/>
              </a:ext>
            </a:extLst>
          </p:cNvPr>
          <p:cNvSpPr txBox="1">
            <a:spLocks/>
          </p:cNvSpPr>
          <p:nvPr>
            <p:custDataLst>
              <p:tags r:id="rId3"/>
            </p:custDataLst>
          </p:nvPr>
        </p:nvSpPr>
        <p:spPr>
          <a:xfrm>
            <a:off x="392296" y="1084609"/>
            <a:ext cx="5394321" cy="553998"/>
          </a:xfrm>
          <a:prstGeom prst="rect">
            <a:avLst/>
          </a:prstGeom>
        </p:spPr>
        <p:txBody>
          <a:bodyPr vert="horz" wrap="square" lIns="0" tIns="0" rIns="0" bIns="0" rtlCol="0" anchor="t" anchorCtr="0">
            <a:spAutoFit/>
          </a:bodyPr>
          <a:lstStyle>
            <a:defPPr>
              <a:defRPr lang="de-DE"/>
            </a:defPPr>
            <a:lvl1pPr indent="0">
              <a:lnSpc>
                <a:spcPct val="100000"/>
              </a:lnSpc>
              <a:spcBef>
                <a:spcPts val="0"/>
              </a:spcBef>
              <a:buClr>
                <a:schemeClr val="tx1"/>
              </a:buClr>
              <a:buFontTx/>
              <a:buNone/>
              <a:defRPr sz="1600" b="1"/>
            </a:lvl1pPr>
            <a:lvl2pPr marL="0" lvl="1" indent="0">
              <a:lnSpc>
                <a:spcPct val="100000"/>
              </a:lnSpc>
              <a:spcBef>
                <a:spcPts val="0"/>
              </a:spcBef>
              <a:buClr>
                <a:schemeClr val="tx1"/>
              </a:buClr>
              <a:buFont typeface="Arial" panose="020B0604020202020204" pitchFamily="34" charset="0"/>
              <a:buNone/>
              <a:defRPr sz="1600" b="1"/>
            </a:lvl2pPr>
            <a:lvl3pPr marL="0" lvl="2" indent="0">
              <a:lnSpc>
                <a:spcPct val="100000"/>
              </a:lnSpc>
              <a:spcBef>
                <a:spcPts val="0"/>
              </a:spcBef>
              <a:buClr>
                <a:schemeClr val="tx1"/>
              </a:buClr>
              <a:buFont typeface="Arial" panose="020B0604020202020204" pitchFamily="34" charset="0"/>
              <a:buNone/>
              <a:defRPr sz="1600" b="1"/>
            </a:lvl3pPr>
            <a:lvl4pPr marL="0" lvl="3" indent="0">
              <a:lnSpc>
                <a:spcPct val="100000"/>
              </a:lnSpc>
              <a:spcBef>
                <a:spcPts val="0"/>
              </a:spcBef>
              <a:buClr>
                <a:schemeClr val="tx1"/>
              </a:buClr>
              <a:buFont typeface="Arial" panose="020B0604020202020204" pitchFamily="34" charset="0"/>
              <a:buNone/>
              <a:defRPr sz="1600" b="1"/>
            </a:lvl4pPr>
            <a:lvl5pPr marL="0" lvl="4" indent="0">
              <a:lnSpc>
                <a:spcPct val="100000"/>
              </a:lnSpc>
              <a:spcBef>
                <a:spcPts val="0"/>
              </a:spcBef>
              <a:buClr>
                <a:schemeClr val="tx1"/>
              </a:buClr>
              <a:buFont typeface="Arial" panose="020B0604020202020204" pitchFamily="34" charset="0"/>
              <a:buNone/>
              <a:defRPr sz="1600" b="1"/>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457200" rtl="0" eaLnBrk="1" fontAlgn="auto" latinLnBrk="0" hangingPunct="1">
              <a:lnSpc>
                <a:spcPct val="100000"/>
              </a:lnSpc>
              <a:spcBef>
                <a:spcPts val="0"/>
              </a:spcBef>
              <a:spcAft>
                <a:spcPts val="0"/>
              </a:spcAft>
              <a:buClr>
                <a:srgbClr val="23417E"/>
              </a:buClr>
              <a:buSzTx/>
              <a:buFontTx/>
              <a:buNone/>
              <a:tabLst/>
              <a:defRPr/>
            </a:pPr>
            <a:r>
              <a:rPr kumimoji="0" lang="de-DE" sz="1800" b="1" i="0" u="none" strike="noStrike" kern="1200" cap="none" spc="0" normalizeH="0" baseline="0" noProof="0" dirty="0">
                <a:ln>
                  <a:noFill/>
                </a:ln>
                <a:solidFill>
                  <a:srgbClr val="7F7F7F"/>
                </a:solidFill>
                <a:effectLst/>
                <a:uLnTx/>
                <a:uFillTx/>
                <a:latin typeface="Arial Narrow"/>
                <a:ea typeface="+mn-ea"/>
                <a:cs typeface="+mn-cs"/>
              </a:rPr>
              <a:t>On board experience / interior design is one of the main drivers of customer satisfaction in high-speed rail</a:t>
            </a:r>
            <a:endParaRPr kumimoji="0" lang="en-US" sz="1800" b="1" i="0" u="none" strike="noStrike" kern="1200" cap="none" spc="0" normalizeH="0" baseline="0" noProof="0" dirty="0">
              <a:ln>
                <a:noFill/>
              </a:ln>
              <a:solidFill>
                <a:srgbClr val="7F7F7F"/>
              </a:solidFill>
              <a:effectLst/>
              <a:uLnTx/>
              <a:uFillTx/>
              <a:latin typeface="Arial Narrow"/>
              <a:ea typeface="+mn-ea"/>
              <a:cs typeface="+mn-cs"/>
            </a:endParaRPr>
          </a:p>
        </p:txBody>
      </p:sp>
      <p:sp>
        <p:nvSpPr>
          <p:cNvPr id="57" name="Text Placeholder 3">
            <a:extLst>
              <a:ext uri="{FF2B5EF4-FFF2-40B4-BE49-F238E27FC236}">
                <a16:creationId xmlns:a16="http://schemas.microsoft.com/office/drawing/2014/main" id="{5DB04571-EC01-D082-D8EB-FE48FDBA87F2}"/>
              </a:ext>
            </a:extLst>
          </p:cNvPr>
          <p:cNvSpPr txBox="1">
            <a:spLocks/>
          </p:cNvSpPr>
          <p:nvPr/>
        </p:nvSpPr>
        <p:spPr>
          <a:xfrm>
            <a:off x="6377932" y="1085346"/>
            <a:ext cx="5433068" cy="365760"/>
          </a:xfrm>
          <a:prstGeom prst="rect">
            <a:avLst/>
          </a:prstGeom>
        </p:spPr>
        <p:txBody>
          <a:bodyPr vert="horz" lIns="91440" tIns="45720" rIns="91440" bIns="45720" rtlCol="0" anchor="t">
            <a:noAutofit/>
          </a:bodyPr>
          <a:lstStyle>
            <a:lvl1pPr marL="0" indent="0" algn="l" defTabSz="914377" rtl="0" eaLnBrk="1" latinLnBrk="0" hangingPunct="1">
              <a:spcBef>
                <a:spcPct val="20000"/>
              </a:spcBef>
              <a:buClr>
                <a:srgbClr val="0AAEFA"/>
              </a:buClr>
              <a:buFont typeface="Arial" pitchFamily="34" charset="0"/>
              <a:buNone/>
              <a:defRPr sz="1600" b="0" i="0" kern="1200">
                <a:solidFill>
                  <a:schemeClr val="bg1">
                    <a:lumMod val="50000"/>
                  </a:schemeClr>
                </a:solidFill>
                <a:latin typeface="+mj-lt"/>
                <a:ea typeface="+mn-ea"/>
                <a:cs typeface="Arial" pitchFamily="34" charset="0"/>
              </a:defRPr>
            </a:lvl1pPr>
            <a:lvl2pPr marL="457189" indent="0" algn="l" defTabSz="914377" rtl="0" eaLnBrk="1" latinLnBrk="0" hangingPunct="1">
              <a:spcBef>
                <a:spcPct val="20000"/>
              </a:spcBef>
              <a:buClr>
                <a:srgbClr val="FCD41B"/>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2pPr>
            <a:lvl3pPr marL="914377" indent="0" algn="l" defTabSz="914377" rtl="0" eaLnBrk="1" latinLnBrk="0" hangingPunct="1">
              <a:spcBef>
                <a:spcPct val="20000"/>
              </a:spcBef>
              <a:buClr>
                <a:schemeClr val="bg1"/>
              </a:buClr>
              <a:buSzPct val="100000"/>
              <a:buFont typeface="Arial" panose="020B0604020202020204" pitchFamily="34" charset="0"/>
              <a:buNone/>
              <a:defRPr sz="2200" b="0" i="0" kern="1200">
                <a:solidFill>
                  <a:schemeClr val="tx1"/>
                </a:solidFill>
                <a:latin typeface="Arial Narrow" pitchFamily="34" charset="0"/>
                <a:ea typeface="+mn-ea"/>
                <a:cs typeface="Arial" pitchFamily="34" charset="0"/>
              </a:defRPr>
            </a:lvl3pPr>
            <a:lvl4pPr marL="1371566" indent="0" algn="l" defTabSz="914377" rtl="0" eaLnBrk="1" latinLnBrk="0" hangingPunct="1">
              <a:spcBef>
                <a:spcPct val="20000"/>
              </a:spcBef>
              <a:buClr>
                <a:srgbClr val="0AAEFA"/>
              </a:buClr>
              <a:buSzPct val="100000"/>
              <a:buFont typeface="Arial Narrow" panose="020B0606020202030204" pitchFamily="34" charset="0"/>
              <a:buNone/>
              <a:defRPr sz="2200" b="0" i="0" kern="1200">
                <a:solidFill>
                  <a:schemeClr val="tx1"/>
                </a:solidFill>
                <a:latin typeface="Arial Narrow" pitchFamily="34" charset="0"/>
                <a:ea typeface="+mn-ea"/>
                <a:cs typeface="Arial" pitchFamily="34" charset="0"/>
              </a:defRPr>
            </a:lvl4pPr>
            <a:lvl5pPr marL="1828754" indent="0" algn="l" defTabSz="914377" rtl="0" eaLnBrk="1" latinLnBrk="0" hangingPunct="1">
              <a:spcBef>
                <a:spcPct val="20000"/>
              </a:spcBef>
              <a:buClr>
                <a:srgbClr val="FCD41B"/>
              </a:buClr>
              <a:buFont typeface="Arial" pitchFamily="34" charset="0"/>
              <a:buNone/>
              <a:defRPr sz="2200" b="0" i="0" kern="1200">
                <a:solidFill>
                  <a:schemeClr val="bg1"/>
                </a:solidFill>
                <a:latin typeface="Arial Narrow"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20000"/>
              </a:spcBef>
              <a:spcAft>
                <a:spcPts val="0"/>
              </a:spcAft>
              <a:buClr>
                <a:srgbClr val="0AAEFA"/>
              </a:buClr>
              <a:buSzTx/>
              <a:buFont typeface="Arial" pitchFamily="34" charset="0"/>
              <a:buNone/>
              <a:tabLst/>
              <a:defRPr/>
            </a:pPr>
            <a:r>
              <a:rPr kumimoji="0" lang="en-US" sz="1800" b="0" i="0" u="none" strike="noStrike" kern="1200" cap="none" spc="0" normalizeH="0" baseline="0" noProof="0" dirty="0">
                <a:ln>
                  <a:noFill/>
                </a:ln>
                <a:solidFill>
                  <a:srgbClr val="7F7F7F"/>
                </a:solidFill>
                <a:effectLst/>
                <a:uLnTx/>
                <a:uFillTx/>
                <a:latin typeface="Arial Narrow Bold"/>
                <a:ea typeface="+mn-ea"/>
                <a:cs typeface="Arial" pitchFamily="34" charset="0"/>
              </a:rPr>
              <a:t>What can Californians expect of the onboard experience? </a:t>
            </a:r>
          </a:p>
        </p:txBody>
      </p:sp>
      <p:sp>
        <p:nvSpPr>
          <p:cNvPr id="76" name="Oval 75">
            <a:extLst>
              <a:ext uri="{FF2B5EF4-FFF2-40B4-BE49-F238E27FC236}">
                <a16:creationId xmlns:a16="http://schemas.microsoft.com/office/drawing/2014/main" id="{FB6AAF4F-12E9-5BBE-9C71-24B112C07AAA}"/>
              </a:ext>
            </a:extLst>
          </p:cNvPr>
          <p:cNvSpPr/>
          <p:nvPr/>
        </p:nvSpPr>
        <p:spPr>
          <a:xfrm>
            <a:off x="7507561" y="2311027"/>
            <a:ext cx="3139055" cy="3135921"/>
          </a:xfrm>
          <a:prstGeom prst="ellipse">
            <a:avLst/>
          </a:prstGeom>
          <a:solidFill>
            <a:srgbClr val="FFFFFF"/>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457200" rtl="0" eaLnBrk="1" fontAlgn="auto" latinLnBrk="0" hangingPunct="1">
              <a:lnSpc>
                <a:spcPct val="100000"/>
              </a:lnSpc>
              <a:spcBef>
                <a:spcPts val="0"/>
              </a:spcBef>
              <a:spcAft>
                <a:spcPts val="0"/>
              </a:spcAft>
              <a:buClr>
                <a:srgbClr val="FBD31B"/>
              </a:buClr>
              <a:buSzTx/>
              <a:buFontTx/>
              <a:buNone/>
              <a:tabLst/>
              <a:defRPr/>
            </a:pPr>
            <a:endParaRPr kumimoji="0" lang="en-US" sz="2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7" name="TextBox 76">
            <a:extLst>
              <a:ext uri="{FF2B5EF4-FFF2-40B4-BE49-F238E27FC236}">
                <a16:creationId xmlns:a16="http://schemas.microsoft.com/office/drawing/2014/main" id="{C90A15B8-3DA7-FE65-2B22-65DF239B5EE1}"/>
              </a:ext>
              <a:ext uri="{C183D7F6-B498-43B3-948B-1728B52AA6E4}">
                <adec:decorative xmlns:adec="http://schemas.microsoft.com/office/drawing/2017/decorative" xmlns="" val="1"/>
              </a:ext>
            </a:extLst>
          </p:cNvPr>
          <p:cNvSpPr txBox="1"/>
          <p:nvPr/>
        </p:nvSpPr>
        <p:spPr>
          <a:xfrm>
            <a:off x="9795427" y="3159326"/>
            <a:ext cx="2147141" cy="449219"/>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rPr>
              <a:t>Resilient</a:t>
            </a:r>
            <a:endParaRPr kumimoji="0" lang="en-US" sz="1800" b="0"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endParaRPr>
          </a:p>
        </p:txBody>
      </p:sp>
      <p:sp>
        <p:nvSpPr>
          <p:cNvPr id="78" name="TextBox 77">
            <a:extLst>
              <a:ext uri="{FF2B5EF4-FFF2-40B4-BE49-F238E27FC236}">
                <a16:creationId xmlns:a16="http://schemas.microsoft.com/office/drawing/2014/main" id="{4909C0AC-4A2E-6223-D5BC-B338409615B2}"/>
              </a:ext>
              <a:ext uri="{C183D7F6-B498-43B3-948B-1728B52AA6E4}">
                <adec:decorative xmlns:adec="http://schemas.microsoft.com/office/drawing/2017/decorative" xmlns="" val="1"/>
              </a:ext>
            </a:extLst>
          </p:cNvPr>
          <p:cNvSpPr txBox="1"/>
          <p:nvPr/>
        </p:nvSpPr>
        <p:spPr>
          <a:xfrm>
            <a:off x="6680940" y="5541568"/>
            <a:ext cx="2147141" cy="449219"/>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rPr>
              <a:t>Passenger centric</a:t>
            </a:r>
            <a:endParaRPr kumimoji="0" lang="en-US" sz="1800" b="0"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endParaRPr>
          </a:p>
        </p:txBody>
      </p:sp>
      <p:sp>
        <p:nvSpPr>
          <p:cNvPr id="79" name="TextBox 78">
            <a:extLst>
              <a:ext uri="{FF2B5EF4-FFF2-40B4-BE49-F238E27FC236}">
                <a16:creationId xmlns:a16="http://schemas.microsoft.com/office/drawing/2014/main" id="{B8C16AD7-2123-67AD-1EE4-041F6BC02A73}"/>
              </a:ext>
              <a:ext uri="{C183D7F6-B498-43B3-948B-1728B52AA6E4}">
                <adec:decorative xmlns:adec="http://schemas.microsoft.com/office/drawing/2017/decorative" xmlns="" val="1"/>
              </a:ext>
            </a:extLst>
          </p:cNvPr>
          <p:cNvSpPr txBox="1"/>
          <p:nvPr/>
        </p:nvSpPr>
        <p:spPr>
          <a:xfrm>
            <a:off x="7249385" y="1507694"/>
            <a:ext cx="2147141" cy="449219"/>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800" b="1"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rPr>
              <a:t>State-of-the-Art</a:t>
            </a:r>
            <a:endParaRPr kumimoji="0" lang="en-US" sz="1800" b="0" i="0" u="none" strike="noStrike" kern="1200" cap="none" spc="0" normalizeH="0" baseline="0" noProof="0" dirty="0">
              <a:ln>
                <a:noFill/>
              </a:ln>
              <a:solidFill>
                <a:srgbClr val="23417E"/>
              </a:solidFill>
              <a:effectLst/>
              <a:uLnTx/>
              <a:uFillTx/>
              <a:latin typeface="Arial Narrow" panose="020B0606020202030204" pitchFamily="34" charset="0"/>
              <a:ea typeface="+mn-ea"/>
              <a:cs typeface="+mn-cs"/>
            </a:endParaRPr>
          </a:p>
        </p:txBody>
      </p:sp>
      <p:grpSp>
        <p:nvGrpSpPr>
          <p:cNvPr id="80" name="Group 79">
            <a:extLst>
              <a:ext uri="{FF2B5EF4-FFF2-40B4-BE49-F238E27FC236}">
                <a16:creationId xmlns:a16="http://schemas.microsoft.com/office/drawing/2014/main" id="{4F9A1CD4-2B9C-8BE0-E6EF-E454C0F9A327}"/>
              </a:ext>
            </a:extLst>
          </p:cNvPr>
          <p:cNvGrpSpPr/>
          <p:nvPr/>
        </p:nvGrpSpPr>
        <p:grpSpPr>
          <a:xfrm>
            <a:off x="6891519" y="1895522"/>
            <a:ext cx="2862877" cy="1510750"/>
            <a:chOff x="12423132" y="449135"/>
            <a:chExt cx="7385646" cy="3816424"/>
          </a:xfrm>
        </p:grpSpPr>
        <p:pic>
          <p:nvPicPr>
            <p:cNvPr id="81" name="Picture 80">
              <a:extLst>
                <a:ext uri="{FF2B5EF4-FFF2-40B4-BE49-F238E27FC236}">
                  <a16:creationId xmlns:a16="http://schemas.microsoft.com/office/drawing/2014/main" id="{3A0AA923-12FB-117E-BD2F-E44A394C14BD}"/>
                </a:ext>
              </a:extLst>
            </p:cNvPr>
            <p:cNvPicPr>
              <a:picLocks noChangeAspect="1"/>
            </p:cNvPicPr>
            <p:nvPr/>
          </p:nvPicPr>
          <p:blipFill>
            <a:blip r:embed="rId10" cstate="screen">
              <a:extLst>
                <a:ext uri="{28A0092B-C50C-407E-A947-70E740481C1C}">
                  <a14:useLocalDpi xmlns:a14="http://schemas.microsoft.com/office/drawing/2010/main"/>
                </a:ext>
              </a:extLst>
            </a:blip>
            <a:srcRect l="32603" r="32603"/>
            <a:stretch/>
          </p:blipFill>
          <p:spPr>
            <a:xfrm>
              <a:off x="14935644" y="449135"/>
              <a:ext cx="2360624" cy="3816424"/>
            </a:xfrm>
            <a:prstGeom prst="rect">
              <a:avLst/>
            </a:prstGeom>
            <a:effectLst>
              <a:outerShdw blurRad="50800" dist="38100" dir="2700000" algn="tl" rotWithShape="0">
                <a:prstClr val="black">
                  <a:alpha val="40000"/>
                </a:prstClr>
              </a:outerShdw>
            </a:effectLst>
          </p:spPr>
        </p:pic>
        <p:pic>
          <p:nvPicPr>
            <p:cNvPr id="82" name="Picture 81">
              <a:extLst>
                <a:ext uri="{FF2B5EF4-FFF2-40B4-BE49-F238E27FC236}">
                  <a16:creationId xmlns:a16="http://schemas.microsoft.com/office/drawing/2014/main" id="{6518484A-28AB-9006-B2A8-676E2242F788}"/>
                </a:ext>
              </a:extLst>
            </p:cNvPr>
            <p:cNvPicPr>
              <a:picLocks noChangeAspect="1"/>
            </p:cNvPicPr>
            <p:nvPr/>
          </p:nvPicPr>
          <p:blipFill>
            <a:blip r:embed="rId11" cstate="screen">
              <a:extLst>
                <a:ext uri="{28A0092B-C50C-407E-A947-70E740481C1C}">
                  <a14:useLocalDpi xmlns:a14="http://schemas.microsoft.com/office/drawing/2010/main"/>
                </a:ext>
              </a:extLst>
            </a:blip>
            <a:srcRect l="32619" r="32619"/>
            <a:stretch/>
          </p:blipFill>
          <p:spPr>
            <a:xfrm>
              <a:off x="12423132" y="449135"/>
              <a:ext cx="2360624" cy="3816424"/>
            </a:xfrm>
            <a:prstGeom prst="rect">
              <a:avLst/>
            </a:prstGeom>
            <a:effectLst>
              <a:outerShdw blurRad="50800" dist="38100" dir="2700000" algn="tl" rotWithShape="0">
                <a:prstClr val="black">
                  <a:alpha val="40000"/>
                </a:prstClr>
              </a:outerShdw>
            </a:effectLst>
          </p:spPr>
        </p:pic>
        <p:pic>
          <p:nvPicPr>
            <p:cNvPr id="83" name="Picture 82">
              <a:extLst>
                <a:ext uri="{FF2B5EF4-FFF2-40B4-BE49-F238E27FC236}">
                  <a16:creationId xmlns:a16="http://schemas.microsoft.com/office/drawing/2014/main" id="{8A7556E0-4207-79FE-9D8F-C8D259BE864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20469" r="58830" b="40449"/>
            <a:stretch/>
          </p:blipFill>
          <p:spPr>
            <a:xfrm>
              <a:off x="17448154" y="449135"/>
              <a:ext cx="2360624" cy="3816424"/>
            </a:xfrm>
            <a:prstGeom prst="rect">
              <a:avLst/>
            </a:prstGeom>
            <a:effectLst>
              <a:outerShdw blurRad="50800" dist="38100" dir="2700000" algn="tl" rotWithShape="0">
                <a:prstClr val="black">
                  <a:alpha val="40000"/>
                </a:prstClr>
              </a:outerShdw>
            </a:effectLst>
          </p:spPr>
        </p:pic>
      </p:grpSp>
      <p:pic>
        <p:nvPicPr>
          <p:cNvPr id="84" name="Picture 83">
            <a:extLst>
              <a:ext uri="{FF2B5EF4-FFF2-40B4-BE49-F238E27FC236}">
                <a16:creationId xmlns:a16="http://schemas.microsoft.com/office/drawing/2014/main" id="{984AF56E-AD4B-A138-B0D7-C1D8AAF699B3}"/>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8684" t="4119" r="1930" b="7447"/>
          <a:stretch/>
        </p:blipFill>
        <p:spPr>
          <a:xfrm>
            <a:off x="9903839" y="3565749"/>
            <a:ext cx="2038729" cy="1548781"/>
          </a:xfrm>
          <a:prstGeom prst="rect">
            <a:avLst/>
          </a:prstGeom>
          <a:effectLst>
            <a:outerShdw blurRad="50800" dist="38100" dir="2700000" algn="tl" rotWithShape="0">
              <a:prstClr val="black">
                <a:alpha val="40000"/>
              </a:prstClr>
            </a:outerShdw>
          </a:effectLst>
        </p:spPr>
      </p:pic>
      <p:grpSp>
        <p:nvGrpSpPr>
          <p:cNvPr id="85" name="Group 84">
            <a:extLst>
              <a:ext uri="{FF2B5EF4-FFF2-40B4-BE49-F238E27FC236}">
                <a16:creationId xmlns:a16="http://schemas.microsoft.com/office/drawing/2014/main" id="{903CC258-5CE1-9E2D-B92F-C8D622BA8587}"/>
              </a:ext>
            </a:extLst>
          </p:cNvPr>
          <p:cNvGrpSpPr/>
          <p:nvPr/>
        </p:nvGrpSpPr>
        <p:grpSpPr>
          <a:xfrm>
            <a:off x="6440277" y="4115637"/>
            <a:ext cx="2862234" cy="1457432"/>
            <a:chOff x="10181560" y="4096209"/>
            <a:chExt cx="2862234" cy="1457432"/>
          </a:xfrm>
        </p:grpSpPr>
        <p:pic>
          <p:nvPicPr>
            <p:cNvPr id="86" name="Picture 85">
              <a:extLst>
                <a:ext uri="{FF2B5EF4-FFF2-40B4-BE49-F238E27FC236}">
                  <a16:creationId xmlns:a16="http://schemas.microsoft.com/office/drawing/2014/main" id="{54E6BBF8-247D-BA68-EA2F-1196E39B1C68}"/>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l="56814"/>
            <a:stretch/>
          </p:blipFill>
          <p:spPr>
            <a:xfrm>
              <a:off x="10181560" y="4096209"/>
              <a:ext cx="914400" cy="1437200"/>
            </a:xfrm>
            <a:prstGeom prst="rect">
              <a:avLst/>
            </a:prstGeom>
            <a:effectLst>
              <a:outerShdw blurRad="50800" dist="38100" dir="2700000" algn="tl" rotWithShape="0">
                <a:prstClr val="black">
                  <a:alpha val="40000"/>
                </a:prstClr>
              </a:outerShdw>
            </a:effectLst>
          </p:spPr>
        </p:pic>
        <p:pic>
          <p:nvPicPr>
            <p:cNvPr id="87" name="Picture 86">
              <a:extLst>
                <a:ext uri="{FF2B5EF4-FFF2-40B4-BE49-F238E27FC236}">
                  <a16:creationId xmlns:a16="http://schemas.microsoft.com/office/drawing/2014/main" id="{F323A31A-5033-A8A1-E381-9A274AC6AA28}"/>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40748" t="-1211" r="23815" b="1211"/>
            <a:stretch/>
          </p:blipFill>
          <p:spPr>
            <a:xfrm>
              <a:off x="11155477" y="4096209"/>
              <a:ext cx="914400" cy="1450140"/>
            </a:xfrm>
            <a:prstGeom prst="rect">
              <a:avLst/>
            </a:prstGeom>
            <a:effectLst>
              <a:outerShdw blurRad="50800" dist="38100" dir="2700000" algn="tl" rotWithShape="0">
                <a:prstClr val="black">
                  <a:alpha val="40000"/>
                </a:prstClr>
              </a:outerShdw>
            </a:effectLst>
          </p:spPr>
        </p:pic>
        <p:pic>
          <p:nvPicPr>
            <p:cNvPr id="88" name="Picture 87">
              <a:extLst>
                <a:ext uri="{FF2B5EF4-FFF2-40B4-BE49-F238E27FC236}">
                  <a16:creationId xmlns:a16="http://schemas.microsoft.com/office/drawing/2014/main" id="{72FE8ABF-AD25-04A1-870C-6897F9AB4C24}"/>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l="31125" t="-253" r="26288" b="253"/>
            <a:stretch/>
          </p:blipFill>
          <p:spPr>
            <a:xfrm>
              <a:off x="12129394" y="4096209"/>
              <a:ext cx="914400" cy="1457432"/>
            </a:xfrm>
            <a:prstGeom prst="rect">
              <a:avLst/>
            </a:prstGeom>
            <a:effectLst>
              <a:outerShdw blurRad="50800" dist="38100" dir="2700000" algn="tl" rotWithShape="0">
                <a:prstClr val="black">
                  <a:alpha val="40000"/>
                </a:prstClr>
              </a:outerShdw>
            </a:effectLst>
          </p:spPr>
        </p:pic>
      </p:grpSp>
      <p:sp>
        <p:nvSpPr>
          <p:cNvPr id="10" name="Textplatzhalter 2">
            <a:extLst>
              <a:ext uri="{FF2B5EF4-FFF2-40B4-BE49-F238E27FC236}">
                <a16:creationId xmlns:a16="http://schemas.microsoft.com/office/drawing/2014/main" id="{33D27F20-3071-32B5-8BEC-11649871EEC4}"/>
              </a:ext>
            </a:extLst>
          </p:cNvPr>
          <p:cNvSpPr>
            <a:spLocks noGrp="1"/>
          </p:cNvSpPr>
          <p:nvPr/>
        </p:nvSpPr>
        <p:spPr bwMode="auto">
          <a:xfrm>
            <a:off x="390835" y="4834237"/>
            <a:ext cx="5035663" cy="82652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lvl1pPr marL="176400" indent="-1764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6400" indent="-1800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0000" indent="-1836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6400" indent="-1764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900000" indent="-183600"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
                <a:srgbClr val="FBD31B"/>
              </a:buClr>
              <a:buSzTx/>
              <a:buFont typeface="DB Sans" panose="020B0502050202020204" pitchFamily="34" charset="0"/>
              <a:buNone/>
              <a:tabLst/>
              <a:defRPr/>
            </a:pPr>
            <a:r>
              <a:rPr kumimoji="0" lang="en-US" altLang="en-US" sz="1800" b="0" i="1" u="none" strike="noStrike" kern="1200" cap="none" spc="0" normalizeH="0" baseline="0" noProof="0" dirty="0">
                <a:ln>
                  <a:noFill/>
                </a:ln>
                <a:solidFill>
                  <a:srgbClr val="23417E"/>
                </a:solidFill>
                <a:effectLst/>
                <a:uLnTx/>
                <a:uFillTx/>
                <a:latin typeface="Arial Narrow"/>
                <a:ea typeface="+mn-ea"/>
                <a:cs typeface="Arial"/>
              </a:rPr>
              <a:t>A world-class interior that is accessible by all Californians is important to maximize travel time, comfort, and enjoyment</a:t>
            </a:r>
            <a:endParaRPr kumimoji="0" lang="en-US" sz="1800" b="0" i="1" u="none" strike="noStrike" kern="1200" cap="none" spc="0" normalizeH="0" baseline="0" noProof="0" dirty="0">
              <a:ln>
                <a:noFill/>
              </a:ln>
              <a:solidFill>
                <a:srgbClr val="23417E"/>
              </a:solidFill>
              <a:effectLst/>
              <a:uLnTx/>
              <a:uFillTx/>
              <a:latin typeface="Arial Narrow"/>
              <a:ea typeface="+mn-ea"/>
              <a:cs typeface="Arial"/>
            </a:endParaRPr>
          </a:p>
        </p:txBody>
      </p:sp>
      <p:pic>
        <p:nvPicPr>
          <p:cNvPr id="3" name="Picture 2">
            <a:extLst>
              <a:ext uri="{FF2B5EF4-FFF2-40B4-BE49-F238E27FC236}">
                <a16:creationId xmlns:a16="http://schemas.microsoft.com/office/drawing/2014/main" id="{175F260B-4089-DFCB-0921-91048659D42D}"/>
              </a:ext>
            </a:extLst>
          </p:cNvPr>
          <p:cNvPicPr>
            <a:picLocks noChangeAspect="1"/>
          </p:cNvPicPr>
          <p:nvPr/>
        </p:nvPicPr>
        <p:blipFill>
          <a:blip r:embed="rId17"/>
          <a:stretch>
            <a:fillRect/>
          </a:stretch>
        </p:blipFill>
        <p:spPr>
          <a:xfrm>
            <a:off x="390835" y="1663407"/>
            <a:ext cx="5035659" cy="3191794"/>
          </a:xfrm>
          <a:prstGeom prst="rect">
            <a:avLst/>
          </a:prstGeom>
        </p:spPr>
      </p:pic>
    </p:spTree>
    <p:extLst>
      <p:ext uri="{BB962C8B-B14F-4D97-AF65-F5344CB8AC3E}">
        <p14:creationId xmlns:p14="http://schemas.microsoft.com/office/powerpoint/2010/main" val="49799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315C8-F4A4-43FD-A74F-0E543F7AC38B}"/>
              </a:ext>
            </a:extLst>
          </p:cNvPr>
          <p:cNvSpPr>
            <a:spLocks noGrp="1"/>
          </p:cNvSpPr>
          <p:nvPr>
            <p:ph type="ctrTitle"/>
          </p:nvPr>
        </p:nvSpPr>
        <p:spPr>
          <a:xfrm>
            <a:off x="1751837" y="3581400"/>
            <a:ext cx="8873960" cy="1828800"/>
          </a:xfrm>
        </p:spPr>
        <p:txBody>
          <a:bodyPr>
            <a:normAutofit/>
          </a:bodyPr>
          <a:lstStyle/>
          <a:p>
            <a:r>
              <a:rPr lang="en-US" sz="5000" dirty="0"/>
              <a:t>Valley Rail Expansion Program Update </a:t>
            </a:r>
          </a:p>
        </p:txBody>
      </p:sp>
      <p:sp>
        <p:nvSpPr>
          <p:cNvPr id="3" name="Subtitle 2">
            <a:extLst>
              <a:ext uri="{FF2B5EF4-FFF2-40B4-BE49-F238E27FC236}">
                <a16:creationId xmlns:a16="http://schemas.microsoft.com/office/drawing/2014/main" id="{F86BE85B-C5DD-4881-9FE5-A1D56CAF3534}"/>
              </a:ext>
            </a:extLst>
          </p:cNvPr>
          <p:cNvSpPr>
            <a:spLocks noGrp="1"/>
          </p:cNvSpPr>
          <p:nvPr>
            <p:ph type="subTitle" idx="1"/>
          </p:nvPr>
        </p:nvSpPr>
        <p:spPr>
          <a:xfrm>
            <a:off x="1751837" y="5867400"/>
            <a:ext cx="7772400" cy="489542"/>
          </a:xfrm>
        </p:spPr>
        <p:txBody>
          <a:bodyPr>
            <a:normAutofit/>
          </a:bodyPr>
          <a:lstStyle/>
          <a:p>
            <a:r>
              <a:rPr lang="en-US" dirty="0"/>
              <a:t> </a:t>
            </a:r>
            <a:r>
              <a:rPr lang="en-US" dirty="0" err="1"/>
              <a:t>Asm</a:t>
            </a:r>
            <a:r>
              <a:rPr lang="en-US" dirty="0"/>
              <a:t>. Transportation Committee: 3/11/24</a:t>
            </a:r>
          </a:p>
        </p:txBody>
      </p:sp>
      <p:pic>
        <p:nvPicPr>
          <p:cNvPr id="4" name="Picture 3" descr="A train on the railway tracks&#10;&#10;Description automatically generated with medium confidence">
            <a:extLst>
              <a:ext uri="{FF2B5EF4-FFF2-40B4-BE49-F238E27FC236}">
                <a16:creationId xmlns:a16="http://schemas.microsoft.com/office/drawing/2014/main" id="{CF6FC4D5-8B31-6198-E728-0C2446EAFD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0"/>
            <a:ext cx="9144000" cy="3657600"/>
          </a:xfrm>
          <a:prstGeom prst="rect">
            <a:avLst/>
          </a:prstGeom>
        </p:spPr>
      </p:pic>
    </p:spTree>
    <p:extLst>
      <p:ext uri="{BB962C8B-B14F-4D97-AF65-F5344CB8AC3E}">
        <p14:creationId xmlns:p14="http://schemas.microsoft.com/office/powerpoint/2010/main" val="1206952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UTOSHAPETYPE" val="1"/>
</p:tagLst>
</file>

<file path=ppt/tags/tag11.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12.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13.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LEFT" val="503.1686"/>
  <p:tag name="TOP" val="120.9773"/>
</p:tagLst>
</file>

<file path=ppt/tags/tag16.xml><?xml version="1.0" encoding="utf-8"?>
<p:tagLst xmlns:a="http://schemas.openxmlformats.org/drawingml/2006/main" xmlns:r="http://schemas.openxmlformats.org/officeDocument/2006/relationships" xmlns:p="http://schemas.openxmlformats.org/presentationml/2006/main">
  <p:tag name="LEFT" val="503.1686"/>
  <p:tag name="TOP" val="120.9773"/>
</p:tagLst>
</file>

<file path=ppt/tags/tag17.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CONSECONDCOLOR" val="16777215"/>
  <p:tag name="EASYCOUNT" val=";141."/>
</p:tagLst>
</file>

<file path=ppt/tags/tag21.xml><?xml version="1.0" encoding="utf-8"?>
<p:tagLst xmlns:a="http://schemas.openxmlformats.org/drawingml/2006/main" xmlns:r="http://schemas.openxmlformats.org/officeDocument/2006/relationships" xmlns:p="http://schemas.openxmlformats.org/presentationml/2006/main">
  <p:tag name="EASYCOUNT" val=";8."/>
  <p:tag name="ICONSECONDCOLOR" val="16777215"/>
</p:tagLst>
</file>

<file path=ppt/tags/tag22.xml><?xml version="1.0" encoding="utf-8"?>
<p:tagLst xmlns:a="http://schemas.openxmlformats.org/drawingml/2006/main" xmlns:r="http://schemas.openxmlformats.org/officeDocument/2006/relationships" xmlns:p="http://schemas.openxmlformats.org/presentationml/2006/main">
  <p:tag name="EASYCOUNT" val=";2."/>
  <p:tag name="LEFT" val="29,25"/>
  <p:tag name="TOP" val="114,125"/>
</p:tagLst>
</file>

<file path=ppt/tags/tag23.xml><?xml version="1.0" encoding="utf-8"?>
<p:tagLst xmlns:a="http://schemas.openxmlformats.org/drawingml/2006/main" xmlns:r="http://schemas.openxmlformats.org/officeDocument/2006/relationships" xmlns:p="http://schemas.openxmlformats.org/presentationml/2006/main">
  <p:tag name="EASYCOUNT" val=";2."/>
  <p:tag name="LEFT" val="29,25"/>
  <p:tag name="TOP" val="114,125"/>
</p:tagLst>
</file>

<file path=ppt/tags/tag24.xml><?xml version="1.0" encoding="utf-8"?>
<p:tagLst xmlns:a="http://schemas.openxmlformats.org/drawingml/2006/main" xmlns:r="http://schemas.openxmlformats.org/officeDocument/2006/relationships" xmlns:p="http://schemas.openxmlformats.org/presentationml/2006/main">
  <p:tag name="EASYCOUNT" val=";2."/>
  <p:tag name="LEFT" val="29,25"/>
  <p:tag name="TOP" val="114,12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ASYCOUNT" val=";10."/>
  <p:tag name="LEFT" val="29,25"/>
  <p:tag name="TOP" val="114,1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5.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6.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CONSECONDCOLOR" val="16777215"/>
</p:tagLst>
</file>

<file path=ppt/tags/tag9.xml><?xml version="1.0" encoding="utf-8"?>
<p:tagLst xmlns:a="http://schemas.openxmlformats.org/drawingml/2006/main" xmlns:r="http://schemas.openxmlformats.org/officeDocument/2006/relationships" xmlns:p="http://schemas.openxmlformats.org/presentationml/2006/main">
  <p:tag name="ICONSECONDCOLOR" val="16777215"/>
  <p:tag name="EASYCOUNT" val=";281.;282.;458.;459."/>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SR_PPT_Theme(003)(16x9)">
  <a:themeElements>
    <a:clrScheme name="HSR_COLORS">
      <a:dk1>
        <a:srgbClr val="23417E"/>
      </a:dk1>
      <a:lt1>
        <a:sysClr val="window" lastClr="FFFFFF"/>
      </a:lt1>
      <a:dk2>
        <a:srgbClr val="44546A"/>
      </a:dk2>
      <a:lt2>
        <a:srgbClr val="E7E6E6"/>
      </a:lt2>
      <a:accent1>
        <a:srgbClr val="23417E"/>
      </a:accent1>
      <a:accent2>
        <a:srgbClr val="FBD31B"/>
      </a:accent2>
      <a:accent3>
        <a:srgbClr val="A5A5A5"/>
      </a:accent3>
      <a:accent4>
        <a:srgbClr val="F7941E"/>
      </a:accent4>
      <a:accent5>
        <a:srgbClr val="0082B3"/>
      </a:accent5>
      <a:accent6>
        <a:srgbClr val="70AD47"/>
      </a:accent6>
      <a:hlink>
        <a:srgbClr val="00AEEF"/>
      </a:hlink>
      <a:folHlink>
        <a:srgbClr val="000000"/>
      </a:folHlink>
    </a:clrScheme>
    <a:fontScheme name="Custom 1">
      <a:majorFont>
        <a:latin typeface="Arial Narrow Bold"/>
        <a:ea typeface=""/>
        <a:cs typeface=""/>
      </a:majorFont>
      <a:minorFont>
        <a:latin typeface="Arial Narrow"/>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SR_PPT_Theme(003)(16x9)" id="{388537E4-2DDB-451D-8901-EB8030495BC0}" vid="{56D2815F-C937-487F-B1ED-FAF1A9F456E9}"/>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TotalTime>
  <Words>959</Words>
  <Application>Microsoft Office PowerPoint</Application>
  <PresentationFormat>Widescreen</PresentationFormat>
  <Paragraphs>112</Paragraphs>
  <Slides>12</Slides>
  <Notes>9</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6" baseType="lpstr">
      <vt:lpstr>Arial</vt:lpstr>
      <vt:lpstr>Arial Narrow</vt:lpstr>
      <vt:lpstr>Arial Narrow Bold</vt:lpstr>
      <vt:lpstr>Calibri</vt:lpstr>
      <vt:lpstr>Calibri Light</vt:lpstr>
      <vt:lpstr>Cambria</vt:lpstr>
      <vt:lpstr>Century Gothic</vt:lpstr>
      <vt:lpstr>DB Sans</vt:lpstr>
      <vt:lpstr>Times New Roman</vt:lpstr>
      <vt:lpstr>Office Theme</vt:lpstr>
      <vt:lpstr>HSR_PPT_Theme(003)(16x9)</vt:lpstr>
      <vt:lpstr>3_Office Theme</vt:lpstr>
      <vt:lpstr>2_Office Theme</vt:lpstr>
      <vt:lpstr>think-cell Slide</vt:lpstr>
      <vt:lpstr>PowerPoint Presentation</vt:lpstr>
      <vt:lpstr>PowerPoint Presentation</vt:lpstr>
      <vt:lpstr>Operations along the Merced to Bakersfield Segment</vt:lpstr>
      <vt:lpstr>The Central Valley Service will connect millions of Californians to High-Speed Rail</vt:lpstr>
      <vt:lpstr>The High-Speed Rail system takes drivers off the highways and provides a fast, sustainable mode of transportation</vt:lpstr>
      <vt:lpstr>This early operating segment will create an employment boom and broad economic output growth in the long-term</vt:lpstr>
      <vt:lpstr>In operation, High-Speed Rail will create jobs and continue to drive economic growth in California: direct, indirect and induced effects</vt:lpstr>
      <vt:lpstr>High-Speed Rail’s state-of-the-art American-made trains will have world-class interiors that inspire customers</vt:lpstr>
      <vt:lpstr>Valley Rail Expansion Program Update </vt:lpstr>
      <vt:lpstr>PowerPoint Presentation</vt:lpstr>
      <vt:lpstr>PowerPoint Presentation</vt:lpstr>
      <vt:lpstr>Integrated ACE and San Joaqui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arn, Amanda@HSR</dc:creator>
  <cp:lastModifiedBy>Bracht, Farra</cp:lastModifiedBy>
  <cp:revision>5</cp:revision>
  <dcterms:created xsi:type="dcterms:W3CDTF">2024-03-08T19:35:46Z</dcterms:created>
  <dcterms:modified xsi:type="dcterms:W3CDTF">2024-03-09T00:37:51Z</dcterms:modified>
</cp:coreProperties>
</file>